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</p:sldMasterIdLst>
  <p:sldIdLst>
    <p:sldId id="256" r:id="rId2"/>
    <p:sldId id="258" r:id="rId3"/>
    <p:sldId id="260" r:id="rId4"/>
    <p:sldId id="261" r:id="rId5"/>
  </p:sldIdLst>
  <p:sldSz cx="9144000" cy="6858000" type="screen4x3"/>
  <p:notesSz cx="6858000" cy="9144000"/>
  <p:embeddedFontLst>
    <p:embeddedFont>
      <p:font typeface="Calibri" panose="020F0502020204030204" pitchFamily="34" charset="0"/>
      <p:regular r:id="rId6"/>
      <p:bold r:id="rId7"/>
      <p:italic r:id="rId8"/>
      <p:boldItalic r:id="rId9"/>
    </p:embeddedFont>
    <p:embeddedFont>
      <p:font typeface="Calibri Light" panose="020F0302020204030204" pitchFamily="34" charset="0"/>
      <p:regular r:id="rId10"/>
      <p:italic r:id="rId11"/>
    </p:embeddedFont>
    <p:embeddedFont>
      <p:font typeface="Open Sans" panose="020B0606030504020204" pitchFamily="34" charset="0"/>
      <p:regular r:id="rId12"/>
      <p:bold r:id="rId13"/>
      <p:italic r:id="rId14"/>
      <p:boldItalic r:id="rId15"/>
    </p:embeddedFont>
    <p:embeddedFont>
      <p:font typeface="Product Sans" panose="020B0403030502040203" pitchFamily="34" charset="0"/>
      <p:regular r:id="rId16"/>
      <p:bold r:id="rId17"/>
      <p:italic r:id="rId18"/>
      <p:boldItalic r:id="rId19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9A434"/>
    <a:srgbClr val="27B060"/>
    <a:srgbClr val="89C4F4"/>
    <a:srgbClr val="3498DB"/>
    <a:srgbClr val="2574A9"/>
    <a:srgbClr val="19B5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813" autoAdjust="0"/>
    <p:restoredTop sz="95474" autoAdjust="0"/>
  </p:normalViewPr>
  <p:slideViewPr>
    <p:cSldViewPr snapToGrid="0" showGuides="1">
      <p:cViewPr varScale="1">
        <p:scale>
          <a:sx n="119" d="100"/>
          <a:sy n="119" d="100"/>
        </p:scale>
        <p:origin x="1308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font" Target="fonts/font8.fntdata"/><Relationship Id="rId18" Type="http://schemas.openxmlformats.org/officeDocument/2006/relationships/font" Target="fonts/font13.fntdata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font" Target="fonts/font2.fntdata"/><Relationship Id="rId12" Type="http://schemas.openxmlformats.org/officeDocument/2006/relationships/font" Target="fonts/font7.fntdata"/><Relationship Id="rId17" Type="http://schemas.openxmlformats.org/officeDocument/2006/relationships/font" Target="fonts/font12.fntdata"/><Relationship Id="rId2" Type="http://schemas.openxmlformats.org/officeDocument/2006/relationships/slide" Target="slides/slide1.xml"/><Relationship Id="rId16" Type="http://schemas.openxmlformats.org/officeDocument/2006/relationships/font" Target="fonts/font11.fntdata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5" Type="http://schemas.openxmlformats.org/officeDocument/2006/relationships/slide" Target="slides/slide4.xml"/><Relationship Id="rId15" Type="http://schemas.openxmlformats.org/officeDocument/2006/relationships/font" Target="fonts/font10.fntdata"/><Relationship Id="rId23" Type="http://schemas.openxmlformats.org/officeDocument/2006/relationships/tableStyles" Target="tableStyles.xml"/><Relationship Id="rId10" Type="http://schemas.openxmlformats.org/officeDocument/2006/relationships/font" Target="fonts/font5.fntdata"/><Relationship Id="rId19" Type="http://schemas.openxmlformats.org/officeDocument/2006/relationships/font" Target="fonts/font14.fntdata"/><Relationship Id="rId4" Type="http://schemas.openxmlformats.org/officeDocument/2006/relationships/slide" Target="slides/slide3.xml"/><Relationship Id="rId9" Type="http://schemas.openxmlformats.org/officeDocument/2006/relationships/font" Target="fonts/font4.fntdata"/><Relationship Id="rId14" Type="http://schemas.openxmlformats.org/officeDocument/2006/relationships/font" Target="fonts/font9.fntdata"/><Relationship Id="rId22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D75B5-594A-4066-83F0-265AF30F2F66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7DBC7-B9CA-4197-B61B-C592D69F7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9953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D75B5-594A-4066-83F0-265AF30F2F66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7DBC7-B9CA-4197-B61B-C592D69F7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6691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D75B5-594A-4066-83F0-265AF30F2F66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7DBC7-B9CA-4197-B61B-C592D69F7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8349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D75B5-594A-4066-83F0-265AF30F2F66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7DBC7-B9CA-4197-B61B-C592D69F7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6850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D75B5-594A-4066-83F0-265AF30F2F66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7DBC7-B9CA-4197-B61B-C592D69F7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111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D75B5-594A-4066-83F0-265AF30F2F66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7DBC7-B9CA-4197-B61B-C592D69F7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1023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D75B5-594A-4066-83F0-265AF30F2F66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7DBC7-B9CA-4197-B61B-C592D69F7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5142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D75B5-594A-4066-83F0-265AF30F2F66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7DBC7-B9CA-4197-B61B-C592D69F7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87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D75B5-594A-4066-83F0-265AF30F2F66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7DBC7-B9CA-4197-B61B-C592D69F7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1433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D75B5-594A-4066-83F0-265AF30F2F66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7DBC7-B9CA-4197-B61B-C592D69F7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038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D75B5-594A-4066-83F0-265AF30F2F66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7DBC7-B9CA-4197-B61B-C592D69F7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34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7D75B5-594A-4066-83F0-265AF30F2F66}" type="datetimeFigureOut">
              <a:rPr lang="en-US" smtClean="0"/>
              <a:t>5/24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E7DBC7-B9CA-4197-B61B-C592D69F7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813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1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A6496B8-8E47-45E3-8A25-D7B41C4D09ED}"/>
              </a:ext>
            </a:extLst>
          </p:cNvPr>
          <p:cNvSpPr/>
          <p:nvPr/>
        </p:nvSpPr>
        <p:spPr>
          <a:xfrm>
            <a:off x="0" y="0"/>
            <a:ext cx="9144000" cy="4557744"/>
          </a:xfrm>
          <a:prstGeom prst="rect">
            <a:avLst/>
          </a:prstGeom>
          <a:gradFill>
            <a:gsLst>
              <a:gs pos="0">
                <a:srgbClr val="19B5FE"/>
              </a:gs>
              <a:gs pos="100000">
                <a:srgbClr val="89C4F4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9" name="Graphic 288" descr="Cloud">
            <a:extLst>
              <a:ext uri="{FF2B5EF4-FFF2-40B4-BE49-F238E27FC236}">
                <a16:creationId xmlns:a16="http://schemas.microsoft.com/office/drawing/2014/main" id="{8A8E0E37-D171-4DE5-B7CC-98EF50F65B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9679410">
            <a:off x="6274563" y="2459980"/>
            <a:ext cx="2040579" cy="2040579"/>
          </a:xfrm>
          <a:prstGeom prst="rect">
            <a:avLst/>
          </a:prstGeom>
        </p:spPr>
      </p:pic>
      <p:pic>
        <p:nvPicPr>
          <p:cNvPr id="288" name="Graphic 287" descr="Cloud">
            <a:extLst>
              <a:ext uri="{FF2B5EF4-FFF2-40B4-BE49-F238E27FC236}">
                <a16:creationId xmlns:a16="http://schemas.microsoft.com/office/drawing/2014/main" id="{AF523B4F-0E43-472D-823D-47099E8378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82756">
            <a:off x="1944176" y="2703767"/>
            <a:ext cx="1300830" cy="1300830"/>
          </a:xfrm>
          <a:prstGeom prst="rect">
            <a:avLst/>
          </a:prstGeom>
        </p:spPr>
      </p:pic>
      <p:pic>
        <p:nvPicPr>
          <p:cNvPr id="3" name="Graphic 2" descr="Cloud">
            <a:extLst>
              <a:ext uri="{FF2B5EF4-FFF2-40B4-BE49-F238E27FC236}">
                <a16:creationId xmlns:a16="http://schemas.microsoft.com/office/drawing/2014/main" id="{5490BDCB-5E8C-4646-A9DC-E0541F7B4C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5197" y="1462292"/>
            <a:ext cx="2290536" cy="2290536"/>
          </a:xfrm>
          <a:prstGeom prst="rect">
            <a:avLst/>
          </a:prstGeom>
        </p:spPr>
      </p:pic>
      <p:sp>
        <p:nvSpPr>
          <p:cNvPr id="259" name="Cloud4">
            <a:extLst>
              <a:ext uri="{FF2B5EF4-FFF2-40B4-BE49-F238E27FC236}">
                <a16:creationId xmlns:a16="http://schemas.microsoft.com/office/drawing/2014/main" id="{B69FF58E-ABAF-4EB4-8730-8F8632A6E354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7311338" y="2245291"/>
            <a:ext cx="1864213" cy="1246721"/>
          </a:xfrm>
          <a:custGeom>
            <a:avLst/>
            <a:gdLst>
              <a:gd name="T0" fmla="*/ 667 w 800"/>
              <a:gd name="T1" fmla="*/ 267 h 534"/>
              <a:gd name="T2" fmla="*/ 400 w 800"/>
              <a:gd name="T3" fmla="*/ 0 h 534"/>
              <a:gd name="T4" fmla="*/ 142 w 800"/>
              <a:gd name="T5" fmla="*/ 202 h 534"/>
              <a:gd name="T6" fmla="*/ 0 w 800"/>
              <a:gd name="T7" fmla="*/ 367 h 534"/>
              <a:gd name="T8" fmla="*/ 167 w 800"/>
              <a:gd name="T9" fmla="*/ 534 h 534"/>
              <a:gd name="T10" fmla="*/ 667 w 800"/>
              <a:gd name="T11" fmla="*/ 534 h 534"/>
              <a:gd name="T12" fmla="*/ 800 w 800"/>
              <a:gd name="T13" fmla="*/ 400 h 534"/>
              <a:gd name="T14" fmla="*/ 667 w 800"/>
              <a:gd name="T15" fmla="*/ 267 h 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00" h="534">
                <a:moveTo>
                  <a:pt x="667" y="267"/>
                </a:moveTo>
                <a:cubicBezTo>
                  <a:pt x="667" y="120"/>
                  <a:pt x="548" y="0"/>
                  <a:pt x="400" y="0"/>
                </a:cubicBezTo>
                <a:cubicBezTo>
                  <a:pt x="275" y="0"/>
                  <a:pt x="171" y="86"/>
                  <a:pt x="142" y="202"/>
                </a:cubicBezTo>
                <a:cubicBezTo>
                  <a:pt x="62" y="215"/>
                  <a:pt x="0" y="284"/>
                  <a:pt x="0" y="367"/>
                </a:cubicBezTo>
                <a:cubicBezTo>
                  <a:pt x="0" y="459"/>
                  <a:pt x="75" y="534"/>
                  <a:pt x="167" y="534"/>
                </a:cubicBezTo>
                <a:lnTo>
                  <a:pt x="667" y="534"/>
                </a:lnTo>
                <a:cubicBezTo>
                  <a:pt x="741" y="534"/>
                  <a:pt x="800" y="474"/>
                  <a:pt x="800" y="400"/>
                </a:cubicBezTo>
                <a:cubicBezTo>
                  <a:pt x="800" y="327"/>
                  <a:pt x="741" y="267"/>
                  <a:pt x="667" y="26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5" name="Freeform: Shape 174">
            <a:extLst>
              <a:ext uri="{FF2B5EF4-FFF2-40B4-BE49-F238E27FC236}">
                <a16:creationId xmlns:a16="http://schemas.microsoft.com/office/drawing/2014/main" id="{DFA9A47B-6FFE-4F4B-B126-F94F5F3EC275}"/>
              </a:ext>
            </a:extLst>
          </p:cNvPr>
          <p:cNvSpPr/>
          <p:nvPr/>
        </p:nvSpPr>
        <p:spPr>
          <a:xfrm>
            <a:off x="-551334" y="2787704"/>
            <a:ext cx="10987987" cy="2092696"/>
          </a:xfrm>
          <a:custGeom>
            <a:avLst/>
            <a:gdLst>
              <a:gd name="connsiteX0" fmla="*/ 44370 w 11011447"/>
              <a:gd name="connsiteY0" fmla="*/ 1829023 h 2404194"/>
              <a:gd name="connsiteX1" fmla="*/ 984170 w 11011447"/>
              <a:gd name="connsiteY1" fmla="*/ 1232123 h 2404194"/>
              <a:gd name="connsiteX2" fmla="*/ 2393870 w 11011447"/>
              <a:gd name="connsiteY2" fmla="*/ 990823 h 2404194"/>
              <a:gd name="connsiteX3" fmla="*/ 4121070 w 11011447"/>
              <a:gd name="connsiteY3" fmla="*/ 1524223 h 2404194"/>
              <a:gd name="connsiteX4" fmla="*/ 4692570 w 11011447"/>
              <a:gd name="connsiteY4" fmla="*/ 1702023 h 2404194"/>
              <a:gd name="connsiteX5" fmla="*/ 5416470 w 11011447"/>
              <a:gd name="connsiteY5" fmla="*/ 1460723 h 2404194"/>
              <a:gd name="connsiteX6" fmla="*/ 6127670 w 11011447"/>
              <a:gd name="connsiteY6" fmla="*/ 1321023 h 2404194"/>
              <a:gd name="connsiteX7" fmla="*/ 6572170 w 11011447"/>
              <a:gd name="connsiteY7" fmla="*/ 1562323 h 2404194"/>
              <a:gd name="connsiteX8" fmla="*/ 7727870 w 11011447"/>
              <a:gd name="connsiteY8" fmla="*/ 673323 h 2404194"/>
              <a:gd name="connsiteX9" fmla="*/ 9886870 w 11011447"/>
              <a:gd name="connsiteY9" fmla="*/ 51023 h 2404194"/>
              <a:gd name="connsiteX10" fmla="*/ 10509170 w 11011447"/>
              <a:gd name="connsiteY10" fmla="*/ 2044923 h 2404194"/>
              <a:gd name="connsiteX11" fmla="*/ 2419270 w 11011447"/>
              <a:gd name="connsiteY11" fmla="*/ 2387823 h 2404194"/>
              <a:gd name="connsiteX12" fmla="*/ 44370 w 11011447"/>
              <a:gd name="connsiteY12" fmla="*/ 1829023 h 2404194"/>
              <a:gd name="connsiteX0" fmla="*/ 44370 w 11011447"/>
              <a:gd name="connsiteY0" fmla="*/ 1829023 h 2404194"/>
              <a:gd name="connsiteX1" fmla="*/ 984170 w 11011447"/>
              <a:gd name="connsiteY1" fmla="*/ 1232123 h 2404194"/>
              <a:gd name="connsiteX2" fmla="*/ 2393870 w 11011447"/>
              <a:gd name="connsiteY2" fmla="*/ 990823 h 2404194"/>
              <a:gd name="connsiteX3" fmla="*/ 4121070 w 11011447"/>
              <a:gd name="connsiteY3" fmla="*/ 1524223 h 2404194"/>
              <a:gd name="connsiteX4" fmla="*/ 4692570 w 11011447"/>
              <a:gd name="connsiteY4" fmla="*/ 1702023 h 2404194"/>
              <a:gd name="connsiteX5" fmla="*/ 5416470 w 11011447"/>
              <a:gd name="connsiteY5" fmla="*/ 1460723 h 2404194"/>
              <a:gd name="connsiteX6" fmla="*/ 6305470 w 11011447"/>
              <a:gd name="connsiteY6" fmla="*/ 1194023 h 2404194"/>
              <a:gd name="connsiteX7" fmla="*/ 6572170 w 11011447"/>
              <a:gd name="connsiteY7" fmla="*/ 1562323 h 2404194"/>
              <a:gd name="connsiteX8" fmla="*/ 7727870 w 11011447"/>
              <a:gd name="connsiteY8" fmla="*/ 673323 h 2404194"/>
              <a:gd name="connsiteX9" fmla="*/ 9886870 w 11011447"/>
              <a:gd name="connsiteY9" fmla="*/ 51023 h 2404194"/>
              <a:gd name="connsiteX10" fmla="*/ 10509170 w 11011447"/>
              <a:gd name="connsiteY10" fmla="*/ 2044923 h 2404194"/>
              <a:gd name="connsiteX11" fmla="*/ 2419270 w 11011447"/>
              <a:gd name="connsiteY11" fmla="*/ 2387823 h 2404194"/>
              <a:gd name="connsiteX12" fmla="*/ 44370 w 11011447"/>
              <a:gd name="connsiteY12" fmla="*/ 1829023 h 2404194"/>
              <a:gd name="connsiteX0" fmla="*/ 44370 w 11011447"/>
              <a:gd name="connsiteY0" fmla="*/ 1826671 h 2401842"/>
              <a:gd name="connsiteX1" fmla="*/ 984170 w 11011447"/>
              <a:gd name="connsiteY1" fmla="*/ 1229771 h 2401842"/>
              <a:gd name="connsiteX2" fmla="*/ 2393870 w 11011447"/>
              <a:gd name="connsiteY2" fmla="*/ 988471 h 2401842"/>
              <a:gd name="connsiteX3" fmla="*/ 4121070 w 11011447"/>
              <a:gd name="connsiteY3" fmla="*/ 1521871 h 2401842"/>
              <a:gd name="connsiteX4" fmla="*/ 4692570 w 11011447"/>
              <a:gd name="connsiteY4" fmla="*/ 1699671 h 2401842"/>
              <a:gd name="connsiteX5" fmla="*/ 5416470 w 11011447"/>
              <a:gd name="connsiteY5" fmla="*/ 1458371 h 2401842"/>
              <a:gd name="connsiteX6" fmla="*/ 6305470 w 11011447"/>
              <a:gd name="connsiteY6" fmla="*/ 1191671 h 2401842"/>
              <a:gd name="connsiteX7" fmla="*/ 6826170 w 11011447"/>
              <a:gd name="connsiteY7" fmla="*/ 1318671 h 2401842"/>
              <a:gd name="connsiteX8" fmla="*/ 7727870 w 11011447"/>
              <a:gd name="connsiteY8" fmla="*/ 670971 h 2401842"/>
              <a:gd name="connsiteX9" fmla="*/ 9886870 w 11011447"/>
              <a:gd name="connsiteY9" fmla="*/ 48671 h 2401842"/>
              <a:gd name="connsiteX10" fmla="*/ 10509170 w 11011447"/>
              <a:gd name="connsiteY10" fmla="*/ 2042571 h 2401842"/>
              <a:gd name="connsiteX11" fmla="*/ 2419270 w 11011447"/>
              <a:gd name="connsiteY11" fmla="*/ 2385471 h 2401842"/>
              <a:gd name="connsiteX12" fmla="*/ 44370 w 11011447"/>
              <a:gd name="connsiteY12" fmla="*/ 1826671 h 2401842"/>
              <a:gd name="connsiteX0" fmla="*/ 44370 w 11008756"/>
              <a:gd name="connsiteY0" fmla="*/ 1819961 h 2395132"/>
              <a:gd name="connsiteX1" fmla="*/ 984170 w 11008756"/>
              <a:gd name="connsiteY1" fmla="*/ 1223061 h 2395132"/>
              <a:gd name="connsiteX2" fmla="*/ 2393870 w 11008756"/>
              <a:gd name="connsiteY2" fmla="*/ 981761 h 2395132"/>
              <a:gd name="connsiteX3" fmla="*/ 4121070 w 11008756"/>
              <a:gd name="connsiteY3" fmla="*/ 1515161 h 2395132"/>
              <a:gd name="connsiteX4" fmla="*/ 4692570 w 11008756"/>
              <a:gd name="connsiteY4" fmla="*/ 1692961 h 2395132"/>
              <a:gd name="connsiteX5" fmla="*/ 5416470 w 11008756"/>
              <a:gd name="connsiteY5" fmla="*/ 1451661 h 2395132"/>
              <a:gd name="connsiteX6" fmla="*/ 6305470 w 11008756"/>
              <a:gd name="connsiteY6" fmla="*/ 1184961 h 2395132"/>
              <a:gd name="connsiteX7" fmla="*/ 6826170 w 11008756"/>
              <a:gd name="connsiteY7" fmla="*/ 1311961 h 2395132"/>
              <a:gd name="connsiteX8" fmla="*/ 7816770 w 11008756"/>
              <a:gd name="connsiteY8" fmla="*/ 727761 h 2395132"/>
              <a:gd name="connsiteX9" fmla="*/ 9886870 w 11008756"/>
              <a:gd name="connsiteY9" fmla="*/ 41961 h 2395132"/>
              <a:gd name="connsiteX10" fmla="*/ 10509170 w 11008756"/>
              <a:gd name="connsiteY10" fmla="*/ 2035861 h 2395132"/>
              <a:gd name="connsiteX11" fmla="*/ 2419270 w 11008756"/>
              <a:gd name="connsiteY11" fmla="*/ 2378761 h 2395132"/>
              <a:gd name="connsiteX12" fmla="*/ 44370 w 11008756"/>
              <a:gd name="connsiteY12" fmla="*/ 1819961 h 2395132"/>
              <a:gd name="connsiteX0" fmla="*/ 44370 w 11011381"/>
              <a:gd name="connsiteY0" fmla="*/ 1486487 h 2061658"/>
              <a:gd name="connsiteX1" fmla="*/ 984170 w 11011381"/>
              <a:gd name="connsiteY1" fmla="*/ 889587 h 2061658"/>
              <a:gd name="connsiteX2" fmla="*/ 2393870 w 11011381"/>
              <a:gd name="connsiteY2" fmla="*/ 648287 h 2061658"/>
              <a:gd name="connsiteX3" fmla="*/ 4121070 w 11011381"/>
              <a:gd name="connsiteY3" fmla="*/ 1181687 h 2061658"/>
              <a:gd name="connsiteX4" fmla="*/ 4692570 w 11011381"/>
              <a:gd name="connsiteY4" fmla="*/ 1359487 h 2061658"/>
              <a:gd name="connsiteX5" fmla="*/ 5416470 w 11011381"/>
              <a:gd name="connsiteY5" fmla="*/ 1118187 h 2061658"/>
              <a:gd name="connsiteX6" fmla="*/ 6305470 w 11011381"/>
              <a:gd name="connsiteY6" fmla="*/ 851487 h 2061658"/>
              <a:gd name="connsiteX7" fmla="*/ 6826170 w 11011381"/>
              <a:gd name="connsiteY7" fmla="*/ 978487 h 2061658"/>
              <a:gd name="connsiteX8" fmla="*/ 7816770 w 11011381"/>
              <a:gd name="connsiteY8" fmla="*/ 394287 h 2061658"/>
              <a:gd name="connsiteX9" fmla="*/ 9899570 w 11011381"/>
              <a:gd name="connsiteY9" fmla="*/ 64087 h 2061658"/>
              <a:gd name="connsiteX10" fmla="*/ 10509170 w 11011381"/>
              <a:gd name="connsiteY10" fmla="*/ 1702387 h 2061658"/>
              <a:gd name="connsiteX11" fmla="*/ 2419270 w 11011381"/>
              <a:gd name="connsiteY11" fmla="*/ 2045287 h 2061658"/>
              <a:gd name="connsiteX12" fmla="*/ 44370 w 11011381"/>
              <a:gd name="connsiteY12" fmla="*/ 1486487 h 2061658"/>
              <a:gd name="connsiteX0" fmla="*/ 44370 w 11011381"/>
              <a:gd name="connsiteY0" fmla="*/ 1486487 h 2061658"/>
              <a:gd name="connsiteX1" fmla="*/ 984170 w 11011381"/>
              <a:gd name="connsiteY1" fmla="*/ 889587 h 2061658"/>
              <a:gd name="connsiteX2" fmla="*/ 2393870 w 11011381"/>
              <a:gd name="connsiteY2" fmla="*/ 648287 h 2061658"/>
              <a:gd name="connsiteX3" fmla="*/ 4121070 w 11011381"/>
              <a:gd name="connsiteY3" fmla="*/ 1181687 h 2061658"/>
              <a:gd name="connsiteX4" fmla="*/ 4870370 w 11011381"/>
              <a:gd name="connsiteY4" fmla="*/ 737187 h 2061658"/>
              <a:gd name="connsiteX5" fmla="*/ 5416470 w 11011381"/>
              <a:gd name="connsiteY5" fmla="*/ 1118187 h 2061658"/>
              <a:gd name="connsiteX6" fmla="*/ 6305470 w 11011381"/>
              <a:gd name="connsiteY6" fmla="*/ 851487 h 2061658"/>
              <a:gd name="connsiteX7" fmla="*/ 6826170 w 11011381"/>
              <a:gd name="connsiteY7" fmla="*/ 978487 h 2061658"/>
              <a:gd name="connsiteX8" fmla="*/ 7816770 w 11011381"/>
              <a:gd name="connsiteY8" fmla="*/ 394287 h 2061658"/>
              <a:gd name="connsiteX9" fmla="*/ 9899570 w 11011381"/>
              <a:gd name="connsiteY9" fmla="*/ 64087 h 2061658"/>
              <a:gd name="connsiteX10" fmla="*/ 10509170 w 11011381"/>
              <a:gd name="connsiteY10" fmla="*/ 1702387 h 2061658"/>
              <a:gd name="connsiteX11" fmla="*/ 2419270 w 11011381"/>
              <a:gd name="connsiteY11" fmla="*/ 2045287 h 2061658"/>
              <a:gd name="connsiteX12" fmla="*/ 44370 w 11011381"/>
              <a:gd name="connsiteY12" fmla="*/ 1486487 h 2061658"/>
              <a:gd name="connsiteX0" fmla="*/ 44370 w 11011381"/>
              <a:gd name="connsiteY0" fmla="*/ 1486487 h 2061658"/>
              <a:gd name="connsiteX1" fmla="*/ 984170 w 11011381"/>
              <a:gd name="connsiteY1" fmla="*/ 889587 h 2061658"/>
              <a:gd name="connsiteX2" fmla="*/ 2393870 w 11011381"/>
              <a:gd name="connsiteY2" fmla="*/ 648287 h 2061658"/>
              <a:gd name="connsiteX3" fmla="*/ 4057570 w 11011381"/>
              <a:gd name="connsiteY3" fmla="*/ 1092787 h 2061658"/>
              <a:gd name="connsiteX4" fmla="*/ 4870370 w 11011381"/>
              <a:gd name="connsiteY4" fmla="*/ 737187 h 2061658"/>
              <a:gd name="connsiteX5" fmla="*/ 5416470 w 11011381"/>
              <a:gd name="connsiteY5" fmla="*/ 1118187 h 2061658"/>
              <a:gd name="connsiteX6" fmla="*/ 6305470 w 11011381"/>
              <a:gd name="connsiteY6" fmla="*/ 851487 h 2061658"/>
              <a:gd name="connsiteX7" fmla="*/ 6826170 w 11011381"/>
              <a:gd name="connsiteY7" fmla="*/ 978487 h 2061658"/>
              <a:gd name="connsiteX8" fmla="*/ 7816770 w 11011381"/>
              <a:gd name="connsiteY8" fmla="*/ 394287 h 2061658"/>
              <a:gd name="connsiteX9" fmla="*/ 9899570 w 11011381"/>
              <a:gd name="connsiteY9" fmla="*/ 64087 h 2061658"/>
              <a:gd name="connsiteX10" fmla="*/ 10509170 w 11011381"/>
              <a:gd name="connsiteY10" fmla="*/ 1702387 h 2061658"/>
              <a:gd name="connsiteX11" fmla="*/ 2419270 w 11011381"/>
              <a:gd name="connsiteY11" fmla="*/ 2045287 h 2061658"/>
              <a:gd name="connsiteX12" fmla="*/ 44370 w 11011381"/>
              <a:gd name="connsiteY12" fmla="*/ 1486487 h 2061658"/>
              <a:gd name="connsiteX0" fmla="*/ 42796 w 11009807"/>
              <a:gd name="connsiteY0" fmla="*/ 1486487 h 2061658"/>
              <a:gd name="connsiteX1" fmla="*/ 982596 w 11009807"/>
              <a:gd name="connsiteY1" fmla="*/ 889587 h 2061658"/>
              <a:gd name="connsiteX2" fmla="*/ 2163696 w 11009807"/>
              <a:gd name="connsiteY2" fmla="*/ 165687 h 2061658"/>
              <a:gd name="connsiteX3" fmla="*/ 4055996 w 11009807"/>
              <a:gd name="connsiteY3" fmla="*/ 1092787 h 2061658"/>
              <a:gd name="connsiteX4" fmla="*/ 4868796 w 11009807"/>
              <a:gd name="connsiteY4" fmla="*/ 737187 h 2061658"/>
              <a:gd name="connsiteX5" fmla="*/ 5414896 w 11009807"/>
              <a:gd name="connsiteY5" fmla="*/ 1118187 h 2061658"/>
              <a:gd name="connsiteX6" fmla="*/ 6303896 w 11009807"/>
              <a:gd name="connsiteY6" fmla="*/ 851487 h 2061658"/>
              <a:gd name="connsiteX7" fmla="*/ 6824596 w 11009807"/>
              <a:gd name="connsiteY7" fmla="*/ 978487 h 2061658"/>
              <a:gd name="connsiteX8" fmla="*/ 7815196 w 11009807"/>
              <a:gd name="connsiteY8" fmla="*/ 394287 h 2061658"/>
              <a:gd name="connsiteX9" fmla="*/ 9897996 w 11009807"/>
              <a:gd name="connsiteY9" fmla="*/ 64087 h 2061658"/>
              <a:gd name="connsiteX10" fmla="*/ 10507596 w 11009807"/>
              <a:gd name="connsiteY10" fmla="*/ 1702387 h 2061658"/>
              <a:gd name="connsiteX11" fmla="*/ 2417696 w 11009807"/>
              <a:gd name="connsiteY11" fmla="*/ 2045287 h 2061658"/>
              <a:gd name="connsiteX12" fmla="*/ 42796 w 11009807"/>
              <a:gd name="connsiteY12" fmla="*/ 1486487 h 2061658"/>
              <a:gd name="connsiteX0" fmla="*/ 81433 w 11048444"/>
              <a:gd name="connsiteY0" fmla="*/ 1486487 h 2061658"/>
              <a:gd name="connsiteX1" fmla="*/ 703733 w 11048444"/>
              <a:gd name="connsiteY1" fmla="*/ 559387 h 2061658"/>
              <a:gd name="connsiteX2" fmla="*/ 2202333 w 11048444"/>
              <a:gd name="connsiteY2" fmla="*/ 165687 h 2061658"/>
              <a:gd name="connsiteX3" fmla="*/ 4094633 w 11048444"/>
              <a:gd name="connsiteY3" fmla="*/ 1092787 h 2061658"/>
              <a:gd name="connsiteX4" fmla="*/ 4907433 w 11048444"/>
              <a:gd name="connsiteY4" fmla="*/ 737187 h 2061658"/>
              <a:gd name="connsiteX5" fmla="*/ 5453533 w 11048444"/>
              <a:gd name="connsiteY5" fmla="*/ 1118187 h 2061658"/>
              <a:gd name="connsiteX6" fmla="*/ 6342533 w 11048444"/>
              <a:gd name="connsiteY6" fmla="*/ 851487 h 2061658"/>
              <a:gd name="connsiteX7" fmla="*/ 6863233 w 11048444"/>
              <a:gd name="connsiteY7" fmla="*/ 978487 h 2061658"/>
              <a:gd name="connsiteX8" fmla="*/ 7853833 w 11048444"/>
              <a:gd name="connsiteY8" fmla="*/ 394287 h 2061658"/>
              <a:gd name="connsiteX9" fmla="*/ 9936633 w 11048444"/>
              <a:gd name="connsiteY9" fmla="*/ 64087 h 2061658"/>
              <a:gd name="connsiteX10" fmla="*/ 10546233 w 11048444"/>
              <a:gd name="connsiteY10" fmla="*/ 1702387 h 2061658"/>
              <a:gd name="connsiteX11" fmla="*/ 2456333 w 11048444"/>
              <a:gd name="connsiteY11" fmla="*/ 2045287 h 2061658"/>
              <a:gd name="connsiteX12" fmla="*/ 81433 w 11048444"/>
              <a:gd name="connsiteY12" fmla="*/ 1486487 h 2061658"/>
              <a:gd name="connsiteX0" fmla="*/ 81433 w 11031151"/>
              <a:gd name="connsiteY0" fmla="*/ 1456358 h 2031529"/>
              <a:gd name="connsiteX1" fmla="*/ 703733 w 11031151"/>
              <a:gd name="connsiteY1" fmla="*/ 529258 h 2031529"/>
              <a:gd name="connsiteX2" fmla="*/ 2202333 w 11031151"/>
              <a:gd name="connsiteY2" fmla="*/ 135558 h 2031529"/>
              <a:gd name="connsiteX3" fmla="*/ 4094633 w 11031151"/>
              <a:gd name="connsiteY3" fmla="*/ 1062658 h 2031529"/>
              <a:gd name="connsiteX4" fmla="*/ 4907433 w 11031151"/>
              <a:gd name="connsiteY4" fmla="*/ 707058 h 2031529"/>
              <a:gd name="connsiteX5" fmla="*/ 5453533 w 11031151"/>
              <a:gd name="connsiteY5" fmla="*/ 1088058 h 2031529"/>
              <a:gd name="connsiteX6" fmla="*/ 6342533 w 11031151"/>
              <a:gd name="connsiteY6" fmla="*/ 821358 h 2031529"/>
              <a:gd name="connsiteX7" fmla="*/ 6863233 w 11031151"/>
              <a:gd name="connsiteY7" fmla="*/ 948358 h 2031529"/>
              <a:gd name="connsiteX8" fmla="*/ 8438033 w 11031151"/>
              <a:gd name="connsiteY8" fmla="*/ 592758 h 2031529"/>
              <a:gd name="connsiteX9" fmla="*/ 9936633 w 11031151"/>
              <a:gd name="connsiteY9" fmla="*/ 33958 h 2031529"/>
              <a:gd name="connsiteX10" fmla="*/ 10546233 w 11031151"/>
              <a:gd name="connsiteY10" fmla="*/ 1672258 h 2031529"/>
              <a:gd name="connsiteX11" fmla="*/ 2456333 w 11031151"/>
              <a:gd name="connsiteY11" fmla="*/ 2015158 h 2031529"/>
              <a:gd name="connsiteX12" fmla="*/ 81433 w 11031151"/>
              <a:gd name="connsiteY12" fmla="*/ 1456358 h 2031529"/>
              <a:gd name="connsiteX0" fmla="*/ 81433 w 10987987"/>
              <a:gd name="connsiteY0" fmla="*/ 1517525 h 2092696"/>
              <a:gd name="connsiteX1" fmla="*/ 703733 w 10987987"/>
              <a:gd name="connsiteY1" fmla="*/ 590425 h 2092696"/>
              <a:gd name="connsiteX2" fmla="*/ 2202333 w 10987987"/>
              <a:gd name="connsiteY2" fmla="*/ 196725 h 2092696"/>
              <a:gd name="connsiteX3" fmla="*/ 4094633 w 10987987"/>
              <a:gd name="connsiteY3" fmla="*/ 1123825 h 2092696"/>
              <a:gd name="connsiteX4" fmla="*/ 4907433 w 10987987"/>
              <a:gd name="connsiteY4" fmla="*/ 768225 h 2092696"/>
              <a:gd name="connsiteX5" fmla="*/ 5453533 w 10987987"/>
              <a:gd name="connsiteY5" fmla="*/ 1149225 h 2092696"/>
              <a:gd name="connsiteX6" fmla="*/ 6342533 w 10987987"/>
              <a:gd name="connsiteY6" fmla="*/ 882525 h 2092696"/>
              <a:gd name="connsiteX7" fmla="*/ 6863233 w 10987987"/>
              <a:gd name="connsiteY7" fmla="*/ 1009525 h 2092696"/>
              <a:gd name="connsiteX8" fmla="*/ 8438033 w 10987987"/>
              <a:gd name="connsiteY8" fmla="*/ 653925 h 2092696"/>
              <a:gd name="connsiteX9" fmla="*/ 9695333 w 10987987"/>
              <a:gd name="connsiteY9" fmla="*/ 31625 h 2092696"/>
              <a:gd name="connsiteX10" fmla="*/ 10546233 w 10987987"/>
              <a:gd name="connsiteY10" fmla="*/ 1733425 h 2092696"/>
              <a:gd name="connsiteX11" fmla="*/ 2456333 w 10987987"/>
              <a:gd name="connsiteY11" fmla="*/ 2076325 h 2092696"/>
              <a:gd name="connsiteX12" fmla="*/ 81433 w 10987987"/>
              <a:gd name="connsiteY12" fmla="*/ 1517525 h 2092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987987" h="2092696">
                <a:moveTo>
                  <a:pt x="81433" y="1517525"/>
                </a:moveTo>
                <a:cubicBezTo>
                  <a:pt x="-210667" y="1269875"/>
                  <a:pt x="350250" y="810558"/>
                  <a:pt x="703733" y="590425"/>
                </a:cubicBezTo>
                <a:cubicBezTo>
                  <a:pt x="1057216" y="370292"/>
                  <a:pt x="1637183" y="107825"/>
                  <a:pt x="2202333" y="196725"/>
                </a:cubicBezTo>
                <a:cubicBezTo>
                  <a:pt x="2767483" y="285625"/>
                  <a:pt x="3643783" y="1028575"/>
                  <a:pt x="4094633" y="1123825"/>
                </a:cubicBezTo>
                <a:cubicBezTo>
                  <a:pt x="4545483" y="1219075"/>
                  <a:pt x="4680950" y="763992"/>
                  <a:pt x="4907433" y="768225"/>
                </a:cubicBezTo>
                <a:cubicBezTo>
                  <a:pt x="5133916" y="772458"/>
                  <a:pt x="5214350" y="1130175"/>
                  <a:pt x="5453533" y="1149225"/>
                </a:cubicBezTo>
                <a:cubicBezTo>
                  <a:pt x="5692716" y="1168275"/>
                  <a:pt x="6107583" y="905808"/>
                  <a:pt x="6342533" y="882525"/>
                </a:cubicBezTo>
                <a:cubicBezTo>
                  <a:pt x="6577483" y="859242"/>
                  <a:pt x="6513983" y="1047625"/>
                  <a:pt x="6863233" y="1009525"/>
                </a:cubicBezTo>
                <a:cubicBezTo>
                  <a:pt x="7212483" y="971425"/>
                  <a:pt x="7966016" y="816908"/>
                  <a:pt x="8438033" y="653925"/>
                </a:cubicBezTo>
                <a:cubicBezTo>
                  <a:pt x="8910050" y="490942"/>
                  <a:pt x="9343966" y="-148292"/>
                  <a:pt x="9695333" y="31625"/>
                </a:cubicBezTo>
                <a:cubicBezTo>
                  <a:pt x="10046700" y="211542"/>
                  <a:pt x="11790833" y="1343958"/>
                  <a:pt x="10546233" y="1733425"/>
                </a:cubicBezTo>
                <a:cubicBezTo>
                  <a:pt x="9301633" y="2122892"/>
                  <a:pt x="4202583" y="2112308"/>
                  <a:pt x="2456333" y="2076325"/>
                </a:cubicBezTo>
                <a:cubicBezTo>
                  <a:pt x="710083" y="2040342"/>
                  <a:pt x="373533" y="1765175"/>
                  <a:pt x="81433" y="1517525"/>
                </a:cubicBezTo>
                <a:close/>
              </a:path>
            </a:pathLst>
          </a:custGeom>
          <a:gradFill>
            <a:gsLst>
              <a:gs pos="0">
                <a:srgbClr val="3498DB"/>
              </a:gs>
              <a:gs pos="100000">
                <a:srgbClr val="2574A9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Trapezoid 155">
            <a:extLst>
              <a:ext uri="{FF2B5EF4-FFF2-40B4-BE49-F238E27FC236}">
                <a16:creationId xmlns:a16="http://schemas.microsoft.com/office/drawing/2014/main" id="{BB9154CF-1B7F-4096-A7DC-64F6D98F81F1}"/>
              </a:ext>
            </a:extLst>
          </p:cNvPr>
          <p:cNvSpPr/>
          <p:nvPr/>
        </p:nvSpPr>
        <p:spPr>
          <a:xfrm>
            <a:off x="1473789" y="2422734"/>
            <a:ext cx="662130" cy="2139402"/>
          </a:xfrm>
          <a:prstGeom prst="trapezoid">
            <a:avLst/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26B85388-BEC0-4B5C-ABAA-5EE712D95303}"/>
              </a:ext>
            </a:extLst>
          </p:cNvPr>
          <p:cNvGrpSpPr/>
          <p:nvPr/>
        </p:nvGrpSpPr>
        <p:grpSpPr>
          <a:xfrm>
            <a:off x="1335505" y="3298425"/>
            <a:ext cx="807576" cy="1444336"/>
            <a:chOff x="1612894" y="2168471"/>
            <a:chExt cx="807576" cy="1444336"/>
          </a:xfrm>
        </p:grpSpPr>
        <p:sp>
          <p:nvSpPr>
            <p:cNvPr id="139" name="Parallelogram 138">
              <a:extLst>
                <a:ext uri="{FF2B5EF4-FFF2-40B4-BE49-F238E27FC236}">
                  <a16:creationId xmlns:a16="http://schemas.microsoft.com/office/drawing/2014/main" id="{CD21BD55-0822-409F-8E2F-4E022483015C}"/>
                </a:ext>
              </a:extLst>
            </p:cNvPr>
            <p:cNvSpPr/>
            <p:nvPr/>
          </p:nvSpPr>
          <p:spPr>
            <a:xfrm rot="5400000">
              <a:off x="1496408" y="2688745"/>
              <a:ext cx="1444336" cy="403788"/>
            </a:xfrm>
            <a:prstGeom prst="parallelogram">
              <a:avLst/>
            </a:prstGeom>
            <a:solidFill>
              <a:srgbClr val="3498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Parallelogram 139">
              <a:extLst>
                <a:ext uri="{FF2B5EF4-FFF2-40B4-BE49-F238E27FC236}">
                  <a16:creationId xmlns:a16="http://schemas.microsoft.com/office/drawing/2014/main" id="{283ACB81-F977-4270-9B1C-532A906B6C53}"/>
                </a:ext>
              </a:extLst>
            </p:cNvPr>
            <p:cNvSpPr/>
            <p:nvPr/>
          </p:nvSpPr>
          <p:spPr>
            <a:xfrm rot="16200000" flipH="1">
              <a:off x="1092620" y="2688745"/>
              <a:ext cx="1444336" cy="403788"/>
            </a:xfrm>
            <a:prstGeom prst="parallelogram">
              <a:avLst/>
            </a:prstGeom>
            <a:solidFill>
              <a:srgbClr val="2574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82DCCA1-871D-4BA5-A2E6-6C879FB71FB4}"/>
              </a:ext>
            </a:extLst>
          </p:cNvPr>
          <p:cNvGrpSpPr/>
          <p:nvPr/>
        </p:nvGrpSpPr>
        <p:grpSpPr>
          <a:xfrm>
            <a:off x="145752" y="514531"/>
            <a:ext cx="714051" cy="4725100"/>
            <a:chOff x="4121146" y="622299"/>
            <a:chExt cx="914400" cy="4350533"/>
          </a:xfrm>
          <a:solidFill>
            <a:srgbClr val="2574A9"/>
          </a:solidFill>
        </p:grpSpPr>
        <p:sp>
          <p:nvSpPr>
            <p:cNvPr id="131" name="Trapezoid 130">
              <a:extLst>
                <a:ext uri="{FF2B5EF4-FFF2-40B4-BE49-F238E27FC236}">
                  <a16:creationId xmlns:a16="http://schemas.microsoft.com/office/drawing/2014/main" id="{7EEE8676-591F-4424-A6B8-6D4C5AB1FAC4}"/>
                </a:ext>
              </a:extLst>
            </p:cNvPr>
            <p:cNvSpPr/>
            <p:nvPr/>
          </p:nvSpPr>
          <p:spPr>
            <a:xfrm>
              <a:off x="4322183" y="1885167"/>
              <a:ext cx="499633" cy="3087665"/>
            </a:xfrm>
            <a:prstGeom prst="trapezoid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64D517C2-63C7-42C2-9A82-C3FF511FADF7}"/>
                </a:ext>
              </a:extLst>
            </p:cNvPr>
            <p:cNvCxnSpPr>
              <a:cxnSpLocks/>
            </p:cNvCxnSpPr>
            <p:nvPr/>
          </p:nvCxnSpPr>
          <p:spPr>
            <a:xfrm>
              <a:off x="4343400" y="1828800"/>
              <a:ext cx="457200" cy="0"/>
            </a:xfrm>
            <a:prstGeom prst="line">
              <a:avLst/>
            </a:prstGeom>
            <a:grpFill/>
            <a:ln w="63500" cap="rnd">
              <a:solidFill>
                <a:srgbClr val="3498D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261A6C64-781F-4B6C-A4E1-6BBAD14D1530}"/>
                </a:ext>
              </a:extLst>
            </p:cNvPr>
            <p:cNvCxnSpPr>
              <a:cxnSpLocks/>
            </p:cNvCxnSpPr>
            <p:nvPr/>
          </p:nvCxnSpPr>
          <p:spPr>
            <a:xfrm>
              <a:off x="4229098" y="1746250"/>
              <a:ext cx="685800" cy="0"/>
            </a:xfrm>
            <a:prstGeom prst="line">
              <a:avLst/>
            </a:prstGeom>
            <a:grpFill/>
            <a:ln w="63500" cap="rnd">
              <a:solidFill>
                <a:srgbClr val="3498D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A9831FA-1508-47E8-B7A4-3723312F01D0}"/>
                </a:ext>
              </a:extLst>
            </p:cNvPr>
            <p:cNvCxnSpPr>
              <a:cxnSpLocks/>
            </p:cNvCxnSpPr>
            <p:nvPr/>
          </p:nvCxnSpPr>
          <p:spPr>
            <a:xfrm>
              <a:off x="4121146" y="1663700"/>
              <a:ext cx="914400" cy="0"/>
            </a:xfrm>
            <a:prstGeom prst="line">
              <a:avLst/>
            </a:prstGeom>
            <a:grpFill/>
            <a:ln w="63500" cap="rnd">
              <a:solidFill>
                <a:srgbClr val="3498D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F235646C-2A60-4BF2-9067-7F838FF749D4}"/>
                </a:ext>
              </a:extLst>
            </p:cNvPr>
            <p:cNvSpPr/>
            <p:nvPr/>
          </p:nvSpPr>
          <p:spPr>
            <a:xfrm>
              <a:off x="4121146" y="1241440"/>
              <a:ext cx="914400" cy="3619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4B51B0D7-188E-4985-AB4D-18C4F99E1286}"/>
                </a:ext>
              </a:extLst>
            </p:cNvPr>
            <p:cNvSpPr/>
            <p:nvPr/>
          </p:nvSpPr>
          <p:spPr>
            <a:xfrm>
              <a:off x="4235444" y="1178894"/>
              <a:ext cx="679454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885A40BA-F0A2-4782-BE23-AAEDAB1B6504}"/>
                </a:ext>
              </a:extLst>
            </p:cNvPr>
            <p:cNvSpPr/>
            <p:nvPr/>
          </p:nvSpPr>
          <p:spPr>
            <a:xfrm flipV="1">
              <a:off x="4343400" y="1113172"/>
              <a:ext cx="46788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Isosceles Triangle 137">
              <a:extLst>
                <a:ext uri="{FF2B5EF4-FFF2-40B4-BE49-F238E27FC236}">
                  <a16:creationId xmlns:a16="http://schemas.microsoft.com/office/drawing/2014/main" id="{AAE64B53-1234-4018-8309-48CF5ADA11A7}"/>
                </a:ext>
              </a:extLst>
            </p:cNvPr>
            <p:cNvSpPr/>
            <p:nvPr/>
          </p:nvSpPr>
          <p:spPr>
            <a:xfrm>
              <a:off x="4514848" y="622299"/>
              <a:ext cx="114300" cy="47087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EB33F8E2-BA3A-436D-9493-423117D1BD8A}"/>
              </a:ext>
            </a:extLst>
          </p:cNvPr>
          <p:cNvSpPr/>
          <p:nvPr/>
        </p:nvSpPr>
        <p:spPr>
          <a:xfrm>
            <a:off x="279774" y="2709321"/>
            <a:ext cx="581891" cy="1837280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049463-D127-4818-AF5D-82F9E2196372}"/>
              </a:ext>
            </a:extLst>
          </p:cNvPr>
          <p:cNvSpPr/>
          <p:nvPr/>
        </p:nvSpPr>
        <p:spPr>
          <a:xfrm>
            <a:off x="342986" y="2780759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E5AA46-C3EE-44B2-9795-4C7A76FA42E5}"/>
              </a:ext>
            </a:extLst>
          </p:cNvPr>
          <p:cNvSpPr/>
          <p:nvPr/>
        </p:nvSpPr>
        <p:spPr>
          <a:xfrm>
            <a:off x="685234" y="2780759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893FAB-6A6E-4FDB-9CF2-042860FDE054}"/>
              </a:ext>
            </a:extLst>
          </p:cNvPr>
          <p:cNvSpPr/>
          <p:nvPr/>
        </p:nvSpPr>
        <p:spPr>
          <a:xfrm>
            <a:off x="342986" y="2950803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A5C652-32FC-4D8B-91E5-183446D4295F}"/>
              </a:ext>
            </a:extLst>
          </p:cNvPr>
          <p:cNvSpPr/>
          <p:nvPr/>
        </p:nvSpPr>
        <p:spPr>
          <a:xfrm>
            <a:off x="515842" y="2950803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059128B-7768-451E-9B34-DC2EFCDEEADF}"/>
              </a:ext>
            </a:extLst>
          </p:cNvPr>
          <p:cNvSpPr/>
          <p:nvPr/>
        </p:nvSpPr>
        <p:spPr>
          <a:xfrm>
            <a:off x="685234" y="2950803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59C14A3-F1AF-4222-B216-37C2913B663A}"/>
              </a:ext>
            </a:extLst>
          </p:cNvPr>
          <p:cNvSpPr/>
          <p:nvPr/>
        </p:nvSpPr>
        <p:spPr>
          <a:xfrm>
            <a:off x="515842" y="3116027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A19795-16F5-4910-B071-E657ACF149B6}"/>
              </a:ext>
            </a:extLst>
          </p:cNvPr>
          <p:cNvSpPr/>
          <p:nvPr/>
        </p:nvSpPr>
        <p:spPr>
          <a:xfrm>
            <a:off x="685234" y="3116027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C3DB073-317F-4AE3-843E-E5A100EE6355}"/>
              </a:ext>
            </a:extLst>
          </p:cNvPr>
          <p:cNvSpPr/>
          <p:nvPr/>
        </p:nvSpPr>
        <p:spPr>
          <a:xfrm>
            <a:off x="342986" y="3286071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2AE13CE-D2D4-4C1F-8C68-A915E6CB8BAE}"/>
              </a:ext>
            </a:extLst>
          </p:cNvPr>
          <p:cNvSpPr/>
          <p:nvPr/>
        </p:nvSpPr>
        <p:spPr>
          <a:xfrm>
            <a:off x="515842" y="3286071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6A3ACA7-423E-4942-9792-A8AFAB970897}"/>
              </a:ext>
            </a:extLst>
          </p:cNvPr>
          <p:cNvSpPr/>
          <p:nvPr/>
        </p:nvSpPr>
        <p:spPr>
          <a:xfrm>
            <a:off x="685234" y="3286071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3DD6DDF-D083-40FA-98C9-613B9B52974E}"/>
              </a:ext>
            </a:extLst>
          </p:cNvPr>
          <p:cNvSpPr/>
          <p:nvPr/>
        </p:nvSpPr>
        <p:spPr>
          <a:xfrm>
            <a:off x="342986" y="3453247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3AEB8A6-75E6-49A7-95FA-ECC17552621E}"/>
              </a:ext>
            </a:extLst>
          </p:cNvPr>
          <p:cNvSpPr/>
          <p:nvPr/>
        </p:nvSpPr>
        <p:spPr>
          <a:xfrm>
            <a:off x="515842" y="3453247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A4B7E8B-C246-49ED-9CDA-7C33A8A0802F}"/>
              </a:ext>
            </a:extLst>
          </p:cNvPr>
          <p:cNvSpPr/>
          <p:nvPr/>
        </p:nvSpPr>
        <p:spPr>
          <a:xfrm>
            <a:off x="685234" y="3453247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FD870C1-22B7-419C-8525-8476D87C5E5B}"/>
              </a:ext>
            </a:extLst>
          </p:cNvPr>
          <p:cNvSpPr/>
          <p:nvPr/>
        </p:nvSpPr>
        <p:spPr>
          <a:xfrm>
            <a:off x="342986" y="3623291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433ACB-C737-46A5-952B-1993AC649704}"/>
              </a:ext>
            </a:extLst>
          </p:cNvPr>
          <p:cNvSpPr/>
          <p:nvPr/>
        </p:nvSpPr>
        <p:spPr>
          <a:xfrm>
            <a:off x="685234" y="3623291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CBC039C-7C15-4906-BB78-D5F805C04231}"/>
              </a:ext>
            </a:extLst>
          </p:cNvPr>
          <p:cNvSpPr/>
          <p:nvPr/>
        </p:nvSpPr>
        <p:spPr>
          <a:xfrm>
            <a:off x="13650" y="2709321"/>
            <a:ext cx="262659" cy="1837280"/>
          </a:xfrm>
          <a:prstGeom prst="rect">
            <a:avLst/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7D0D92B-82F9-4E19-91B2-F400C36A075E}"/>
              </a:ext>
            </a:extLst>
          </p:cNvPr>
          <p:cNvSpPr/>
          <p:nvPr/>
        </p:nvSpPr>
        <p:spPr>
          <a:xfrm>
            <a:off x="342986" y="3793335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C669167-CA94-4085-BCED-73E08E98F2C8}"/>
              </a:ext>
            </a:extLst>
          </p:cNvPr>
          <p:cNvSpPr/>
          <p:nvPr/>
        </p:nvSpPr>
        <p:spPr>
          <a:xfrm>
            <a:off x="685234" y="3793335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745281F-A88E-4343-AC13-93D75346ED8C}"/>
              </a:ext>
            </a:extLst>
          </p:cNvPr>
          <p:cNvSpPr/>
          <p:nvPr/>
        </p:nvSpPr>
        <p:spPr>
          <a:xfrm>
            <a:off x="342986" y="3963379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36C8EA5-E284-46D8-AC65-2CAFBE697137}"/>
              </a:ext>
            </a:extLst>
          </p:cNvPr>
          <p:cNvSpPr/>
          <p:nvPr/>
        </p:nvSpPr>
        <p:spPr>
          <a:xfrm>
            <a:off x="515842" y="3963379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D4205CF-58AF-4851-A5DD-A4394166D07E}"/>
              </a:ext>
            </a:extLst>
          </p:cNvPr>
          <p:cNvSpPr/>
          <p:nvPr/>
        </p:nvSpPr>
        <p:spPr>
          <a:xfrm>
            <a:off x="685234" y="3963379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A287512-D379-4B43-B366-E5AC30FAE38E}"/>
              </a:ext>
            </a:extLst>
          </p:cNvPr>
          <p:cNvSpPr/>
          <p:nvPr/>
        </p:nvSpPr>
        <p:spPr>
          <a:xfrm>
            <a:off x="342986" y="4128603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BBCA098-1F17-4FFE-8B3F-C8AA94A71F7D}"/>
              </a:ext>
            </a:extLst>
          </p:cNvPr>
          <p:cNvSpPr/>
          <p:nvPr/>
        </p:nvSpPr>
        <p:spPr>
          <a:xfrm>
            <a:off x="515842" y="4128603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3D7E26E-2B72-4516-ADE0-CB70C69A321C}"/>
              </a:ext>
            </a:extLst>
          </p:cNvPr>
          <p:cNvSpPr/>
          <p:nvPr/>
        </p:nvSpPr>
        <p:spPr>
          <a:xfrm>
            <a:off x="685234" y="4128603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9BB7C74-F1D4-48FE-A104-B63DC6346372}"/>
              </a:ext>
            </a:extLst>
          </p:cNvPr>
          <p:cNvSpPr/>
          <p:nvPr/>
        </p:nvSpPr>
        <p:spPr>
          <a:xfrm>
            <a:off x="951358" y="2437425"/>
            <a:ext cx="581891" cy="2109175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737F0D6-A892-49B2-9F8F-D93A7C7E94AE}"/>
              </a:ext>
            </a:extLst>
          </p:cNvPr>
          <p:cNvSpPr/>
          <p:nvPr/>
        </p:nvSpPr>
        <p:spPr>
          <a:xfrm>
            <a:off x="688409" y="2437425"/>
            <a:ext cx="262659" cy="2109175"/>
          </a:xfrm>
          <a:prstGeom prst="rect">
            <a:avLst/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4C6366A-939C-4F94-8256-268ED1FE9D7E}"/>
              </a:ext>
            </a:extLst>
          </p:cNvPr>
          <p:cNvSpPr/>
          <p:nvPr/>
        </p:nvSpPr>
        <p:spPr>
          <a:xfrm>
            <a:off x="1007531" y="2527913"/>
            <a:ext cx="45719" cy="170265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AA41E534-8A99-4938-A300-53DA582C12A4}"/>
              </a:ext>
            </a:extLst>
          </p:cNvPr>
          <p:cNvSpPr/>
          <p:nvPr/>
        </p:nvSpPr>
        <p:spPr>
          <a:xfrm>
            <a:off x="730696" y="2384883"/>
            <a:ext cx="218929" cy="57331"/>
          </a:xfrm>
          <a:prstGeom prst="rect">
            <a:avLst/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4E456FF9-2501-4EE3-90FF-46A8496923E3}"/>
              </a:ext>
            </a:extLst>
          </p:cNvPr>
          <p:cNvSpPr/>
          <p:nvPr/>
        </p:nvSpPr>
        <p:spPr>
          <a:xfrm>
            <a:off x="947893" y="2384883"/>
            <a:ext cx="538309" cy="57331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1BCC5098-36C4-49F0-ABAA-10169440195C}"/>
              </a:ext>
            </a:extLst>
          </p:cNvPr>
          <p:cNvSpPr/>
          <p:nvPr/>
        </p:nvSpPr>
        <p:spPr>
          <a:xfrm>
            <a:off x="794988" y="2329165"/>
            <a:ext cx="154637" cy="57331"/>
          </a:xfrm>
          <a:prstGeom prst="rect">
            <a:avLst/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E9A87B6D-ABC1-452F-B8A3-AFD8B0E658DB}"/>
              </a:ext>
            </a:extLst>
          </p:cNvPr>
          <p:cNvSpPr/>
          <p:nvPr/>
        </p:nvSpPr>
        <p:spPr>
          <a:xfrm>
            <a:off x="947894" y="2329165"/>
            <a:ext cx="478778" cy="57331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CF62D019-FC69-4403-8789-E7E30DC6B622}"/>
              </a:ext>
            </a:extLst>
          </p:cNvPr>
          <p:cNvSpPr/>
          <p:nvPr/>
        </p:nvSpPr>
        <p:spPr>
          <a:xfrm>
            <a:off x="861665" y="2272615"/>
            <a:ext cx="87960" cy="57331"/>
          </a:xfrm>
          <a:prstGeom prst="rect">
            <a:avLst/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1895B3E5-2067-4C3A-8853-800685BE5959}"/>
              </a:ext>
            </a:extLst>
          </p:cNvPr>
          <p:cNvSpPr/>
          <p:nvPr/>
        </p:nvSpPr>
        <p:spPr>
          <a:xfrm>
            <a:off x="947894" y="2272615"/>
            <a:ext cx="408924" cy="57331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A8572E3F-4A9F-4DDC-ABF0-951C07531A62}"/>
              </a:ext>
            </a:extLst>
          </p:cNvPr>
          <p:cNvSpPr/>
          <p:nvPr/>
        </p:nvSpPr>
        <p:spPr>
          <a:xfrm>
            <a:off x="1095892" y="2527913"/>
            <a:ext cx="45719" cy="170265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ADA0A7E8-FC60-434C-9385-ECA63015538B}"/>
              </a:ext>
            </a:extLst>
          </p:cNvPr>
          <p:cNvSpPr/>
          <p:nvPr/>
        </p:nvSpPr>
        <p:spPr>
          <a:xfrm>
            <a:off x="1177127" y="2527913"/>
            <a:ext cx="45719" cy="170265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839311E5-6797-430E-88AF-01F266802FC5}"/>
              </a:ext>
            </a:extLst>
          </p:cNvPr>
          <p:cNvSpPr/>
          <p:nvPr/>
        </p:nvSpPr>
        <p:spPr>
          <a:xfrm>
            <a:off x="1265488" y="2527913"/>
            <a:ext cx="45719" cy="170265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7F7A5D2-94AA-40A2-B903-20F88A470B23}"/>
              </a:ext>
            </a:extLst>
          </p:cNvPr>
          <p:cNvSpPr/>
          <p:nvPr/>
        </p:nvSpPr>
        <p:spPr>
          <a:xfrm>
            <a:off x="1350045" y="2527913"/>
            <a:ext cx="45719" cy="170265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80A6D9DF-F17E-4664-BF8D-91B0A283D931}"/>
              </a:ext>
            </a:extLst>
          </p:cNvPr>
          <p:cNvSpPr/>
          <p:nvPr/>
        </p:nvSpPr>
        <p:spPr>
          <a:xfrm>
            <a:off x="1438406" y="2527913"/>
            <a:ext cx="45719" cy="170265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Parallelogram 141">
            <a:extLst>
              <a:ext uri="{FF2B5EF4-FFF2-40B4-BE49-F238E27FC236}">
                <a16:creationId xmlns:a16="http://schemas.microsoft.com/office/drawing/2014/main" id="{1D8F05F4-EB30-494A-809F-C37AFAFBEBEF}"/>
              </a:ext>
            </a:extLst>
          </p:cNvPr>
          <p:cNvSpPr/>
          <p:nvPr/>
        </p:nvSpPr>
        <p:spPr>
          <a:xfrm rot="845124" flipH="1">
            <a:off x="1764420" y="3394367"/>
            <a:ext cx="367297" cy="49492"/>
          </a:xfrm>
          <a:prstGeom prst="parallelogram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5" name="Parallelogram 144">
            <a:extLst>
              <a:ext uri="{FF2B5EF4-FFF2-40B4-BE49-F238E27FC236}">
                <a16:creationId xmlns:a16="http://schemas.microsoft.com/office/drawing/2014/main" id="{005F6466-F118-4128-B8D9-934A6650D940}"/>
              </a:ext>
            </a:extLst>
          </p:cNvPr>
          <p:cNvSpPr/>
          <p:nvPr/>
        </p:nvSpPr>
        <p:spPr>
          <a:xfrm rot="845124" flipH="1">
            <a:off x="1764420" y="3479482"/>
            <a:ext cx="367297" cy="49492"/>
          </a:xfrm>
          <a:prstGeom prst="parallelogram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Parallelogram 145">
            <a:extLst>
              <a:ext uri="{FF2B5EF4-FFF2-40B4-BE49-F238E27FC236}">
                <a16:creationId xmlns:a16="http://schemas.microsoft.com/office/drawing/2014/main" id="{030B4163-0B24-4012-8426-7C6575C2AB4E}"/>
              </a:ext>
            </a:extLst>
          </p:cNvPr>
          <p:cNvSpPr/>
          <p:nvPr/>
        </p:nvSpPr>
        <p:spPr>
          <a:xfrm rot="845124" flipH="1">
            <a:off x="1764421" y="3570666"/>
            <a:ext cx="367297" cy="49492"/>
          </a:xfrm>
          <a:prstGeom prst="parallelogram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Parallelogram 146">
            <a:extLst>
              <a:ext uri="{FF2B5EF4-FFF2-40B4-BE49-F238E27FC236}">
                <a16:creationId xmlns:a16="http://schemas.microsoft.com/office/drawing/2014/main" id="{3B37896A-5A9B-438C-A417-7703173D8525}"/>
              </a:ext>
            </a:extLst>
          </p:cNvPr>
          <p:cNvSpPr/>
          <p:nvPr/>
        </p:nvSpPr>
        <p:spPr>
          <a:xfrm rot="845124" flipH="1">
            <a:off x="1764421" y="3655781"/>
            <a:ext cx="367297" cy="49492"/>
          </a:xfrm>
          <a:prstGeom prst="parallelogram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Trapezoid 157">
            <a:extLst>
              <a:ext uri="{FF2B5EF4-FFF2-40B4-BE49-F238E27FC236}">
                <a16:creationId xmlns:a16="http://schemas.microsoft.com/office/drawing/2014/main" id="{C761AFCE-C86C-45FD-BB11-7178A2999EA9}"/>
              </a:ext>
            </a:extLst>
          </p:cNvPr>
          <p:cNvSpPr/>
          <p:nvPr/>
        </p:nvSpPr>
        <p:spPr>
          <a:xfrm>
            <a:off x="1665775" y="2466124"/>
            <a:ext cx="266962" cy="61789"/>
          </a:xfrm>
          <a:prstGeom prst="trapezoid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Trapezoid 158">
            <a:extLst>
              <a:ext uri="{FF2B5EF4-FFF2-40B4-BE49-F238E27FC236}">
                <a16:creationId xmlns:a16="http://schemas.microsoft.com/office/drawing/2014/main" id="{99F6667B-37C0-4C7F-AABE-056D10D291CE}"/>
              </a:ext>
            </a:extLst>
          </p:cNvPr>
          <p:cNvSpPr/>
          <p:nvPr/>
        </p:nvSpPr>
        <p:spPr>
          <a:xfrm>
            <a:off x="1665775" y="2566818"/>
            <a:ext cx="266962" cy="61789"/>
          </a:xfrm>
          <a:prstGeom prst="trapezoid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Trapezoid 159">
            <a:extLst>
              <a:ext uri="{FF2B5EF4-FFF2-40B4-BE49-F238E27FC236}">
                <a16:creationId xmlns:a16="http://schemas.microsoft.com/office/drawing/2014/main" id="{671FDBA3-3230-4A33-9C63-CBC5D9D4E8B3}"/>
              </a:ext>
            </a:extLst>
          </p:cNvPr>
          <p:cNvSpPr/>
          <p:nvPr/>
        </p:nvSpPr>
        <p:spPr>
          <a:xfrm>
            <a:off x="1665775" y="2673865"/>
            <a:ext cx="266962" cy="61789"/>
          </a:xfrm>
          <a:prstGeom prst="trapezoid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Isosceles Triangle 162">
            <a:extLst>
              <a:ext uri="{FF2B5EF4-FFF2-40B4-BE49-F238E27FC236}">
                <a16:creationId xmlns:a16="http://schemas.microsoft.com/office/drawing/2014/main" id="{460E5C86-CFA6-4D4B-8B25-3EF65EDABE17}"/>
              </a:ext>
            </a:extLst>
          </p:cNvPr>
          <p:cNvSpPr/>
          <p:nvPr/>
        </p:nvSpPr>
        <p:spPr>
          <a:xfrm>
            <a:off x="1640464" y="2064395"/>
            <a:ext cx="330074" cy="359218"/>
          </a:xfrm>
          <a:prstGeom prst="triangle">
            <a:avLst>
              <a:gd name="adj" fmla="val 48558"/>
            </a:avLst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A5F7A595-3A90-4F69-8E90-77FDAA339380}"/>
              </a:ext>
            </a:extLst>
          </p:cNvPr>
          <p:cNvSpPr/>
          <p:nvPr/>
        </p:nvSpPr>
        <p:spPr>
          <a:xfrm>
            <a:off x="8020566" y="947718"/>
            <a:ext cx="638886" cy="638886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685800">
              <a:schemeClr val="accent4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7730E19-C337-4C4C-BC6D-E18D10D4615E}"/>
              </a:ext>
            </a:extLst>
          </p:cNvPr>
          <p:cNvSpPr/>
          <p:nvPr/>
        </p:nvSpPr>
        <p:spPr>
          <a:xfrm>
            <a:off x="0" y="4350320"/>
            <a:ext cx="9144000" cy="2507679"/>
          </a:xfrm>
          <a:prstGeom prst="rect">
            <a:avLst/>
          </a:prstGeom>
          <a:solidFill>
            <a:srgbClr val="27B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832DE412-CD4E-4BA4-BC7A-D7ABD5866C37}"/>
              </a:ext>
            </a:extLst>
          </p:cNvPr>
          <p:cNvGrpSpPr/>
          <p:nvPr/>
        </p:nvGrpSpPr>
        <p:grpSpPr>
          <a:xfrm>
            <a:off x="7394134" y="2919579"/>
            <a:ext cx="1587582" cy="2682821"/>
            <a:chOff x="2820309" y="378736"/>
            <a:chExt cx="3654564" cy="6175768"/>
          </a:xfrm>
        </p:grpSpPr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0114C2D9-3FE7-402C-B68A-2A486B8024AD}"/>
                </a:ext>
              </a:extLst>
            </p:cNvPr>
            <p:cNvSpPr/>
            <p:nvPr/>
          </p:nvSpPr>
          <p:spPr>
            <a:xfrm>
              <a:off x="3007972" y="6213531"/>
              <a:ext cx="2917599" cy="340973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DE520DF7-31DD-4F5E-82AF-A0C11EC99EEA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005282"/>
              <a:chOff x="2820309" y="378736"/>
              <a:chExt cx="3654564" cy="6005282"/>
            </a:xfrm>
          </p:grpSpPr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7504E606-D46D-4204-910B-59C2EB3112E3}"/>
                  </a:ext>
                </a:extLst>
              </p:cNvPr>
              <p:cNvSpPr/>
              <p:nvPr/>
            </p:nvSpPr>
            <p:spPr>
              <a:xfrm>
                <a:off x="3147673" y="871875"/>
                <a:ext cx="2892653" cy="289265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9F13C1B7-28DB-40EA-9469-9D5A2C687D96}"/>
                  </a:ext>
                </a:extLst>
              </p:cNvPr>
              <p:cNvSpPr/>
              <p:nvPr/>
            </p:nvSpPr>
            <p:spPr>
              <a:xfrm>
                <a:off x="3922657" y="2642142"/>
                <a:ext cx="745216" cy="74521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E21F1EC3-DCD3-4A0C-91E9-C6C6999EB28A}"/>
                  </a:ext>
                </a:extLst>
              </p:cNvPr>
              <p:cNvGrpSpPr/>
              <p:nvPr/>
            </p:nvGrpSpPr>
            <p:grpSpPr>
              <a:xfrm>
                <a:off x="3439887" y="473982"/>
                <a:ext cx="2026556" cy="5910036"/>
                <a:chOff x="7271658" y="947964"/>
                <a:chExt cx="2026556" cy="5910036"/>
              </a:xfrm>
            </p:grpSpPr>
            <p:grpSp>
              <p:nvGrpSpPr>
                <p:cNvPr id="202" name="Group 201">
                  <a:extLst>
                    <a:ext uri="{FF2B5EF4-FFF2-40B4-BE49-F238E27FC236}">
                      <a16:creationId xmlns:a16="http://schemas.microsoft.com/office/drawing/2014/main" id="{28D2C66C-7415-4E14-95D4-6BB59C27AB0A}"/>
                    </a:ext>
                  </a:extLst>
                </p:cNvPr>
                <p:cNvGrpSpPr/>
                <p:nvPr/>
              </p:nvGrpSpPr>
              <p:grpSpPr>
                <a:xfrm>
                  <a:off x="8069943" y="2324100"/>
                  <a:ext cx="457200" cy="4533900"/>
                  <a:chOff x="8069943" y="2324100"/>
                  <a:chExt cx="457200" cy="4533900"/>
                </a:xfrm>
              </p:grpSpPr>
              <p:sp>
                <p:nvSpPr>
                  <p:cNvPr id="207" name="Freeform: Shape 206">
                    <a:extLst>
                      <a:ext uri="{FF2B5EF4-FFF2-40B4-BE49-F238E27FC236}">
                        <a16:creationId xmlns:a16="http://schemas.microsoft.com/office/drawing/2014/main" id="{F835AEE2-DA79-4F5F-B16C-61273E6761D2}"/>
                      </a:ext>
                    </a:extLst>
                  </p:cNvPr>
                  <p:cNvSpPr/>
                  <p:nvPr/>
                </p:nvSpPr>
                <p:spPr>
                  <a:xfrm>
                    <a:off x="8298543" y="2324100"/>
                    <a:ext cx="228600" cy="4533900"/>
                  </a:xfrm>
                  <a:custGeom>
                    <a:avLst/>
                    <a:gdLst>
                      <a:gd name="connsiteX0" fmla="*/ 0 w 228600"/>
                      <a:gd name="connsiteY0" fmla="*/ 0 h 4533900"/>
                      <a:gd name="connsiteX1" fmla="*/ 1143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0" y="0"/>
                        </a:moveTo>
                        <a:lnTo>
                          <a:pt x="1143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8" name="Freeform: Shape 207">
                    <a:extLst>
                      <a:ext uri="{FF2B5EF4-FFF2-40B4-BE49-F238E27FC236}">
                        <a16:creationId xmlns:a16="http://schemas.microsoft.com/office/drawing/2014/main" id="{C5212413-99DA-4FC7-BC12-C462B893DBBB}"/>
                      </a:ext>
                    </a:extLst>
                  </p:cNvPr>
                  <p:cNvSpPr/>
                  <p:nvPr/>
                </p:nvSpPr>
                <p:spPr>
                  <a:xfrm>
                    <a:off x="8069943" y="2324100"/>
                    <a:ext cx="228600" cy="4533900"/>
                  </a:xfrm>
                  <a:custGeom>
                    <a:avLst/>
                    <a:gdLst>
                      <a:gd name="connsiteX0" fmla="*/ 114300 w 228600"/>
                      <a:gd name="connsiteY0" fmla="*/ 0 h 4533900"/>
                      <a:gd name="connsiteX1" fmla="*/ 2286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11430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114300" y="0"/>
                        </a:moveTo>
                        <a:lnTo>
                          <a:pt x="2286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114300" y="0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03" name="Block Arc 202">
                  <a:extLst>
                    <a:ext uri="{FF2B5EF4-FFF2-40B4-BE49-F238E27FC236}">
                      <a16:creationId xmlns:a16="http://schemas.microsoft.com/office/drawing/2014/main" id="{717F07D7-9099-446C-8BE1-5C3F3FCA3BC5}"/>
                    </a:ext>
                  </a:extLst>
                </p:cNvPr>
                <p:cNvSpPr/>
                <p:nvPr/>
              </p:nvSpPr>
              <p:spPr>
                <a:xfrm rot="16200000">
                  <a:off x="7271658" y="2061029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4" name="Block Arc 203">
                  <a:extLst>
                    <a:ext uri="{FF2B5EF4-FFF2-40B4-BE49-F238E27FC236}">
                      <a16:creationId xmlns:a16="http://schemas.microsoft.com/office/drawing/2014/main" id="{C2D9211C-02B3-40AB-9439-0C791A150696}"/>
                    </a:ext>
                  </a:extLst>
                </p:cNvPr>
                <p:cNvSpPr/>
                <p:nvPr/>
              </p:nvSpPr>
              <p:spPr>
                <a:xfrm rot="16200000">
                  <a:off x="7300686" y="947964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5" name="Block Arc 204">
                  <a:extLst>
                    <a:ext uri="{FF2B5EF4-FFF2-40B4-BE49-F238E27FC236}">
                      <a16:creationId xmlns:a16="http://schemas.microsoft.com/office/drawing/2014/main" id="{E9F09BFF-CF47-4363-9462-948412E6A6EA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2669268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6" name="Block Arc 205">
                  <a:extLst>
                    <a:ext uri="{FF2B5EF4-FFF2-40B4-BE49-F238E27FC236}">
                      <a16:creationId xmlns:a16="http://schemas.microsoft.com/office/drawing/2014/main" id="{4787729D-81A6-4CCF-819A-CE3D49824DA8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1544411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0" name="Group 189">
                <a:extLst>
                  <a:ext uri="{FF2B5EF4-FFF2-40B4-BE49-F238E27FC236}">
                    <a16:creationId xmlns:a16="http://schemas.microsoft.com/office/drawing/2014/main" id="{577D5504-F1AA-42D4-AAFC-BF626F36AFEA}"/>
                  </a:ext>
                </a:extLst>
              </p:cNvPr>
              <p:cNvGrpSpPr/>
              <p:nvPr/>
            </p:nvGrpSpPr>
            <p:grpSpPr>
              <a:xfrm>
                <a:off x="2820309" y="1647146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200" name="Freeform: Shape 199">
                  <a:extLst>
                    <a:ext uri="{FF2B5EF4-FFF2-40B4-BE49-F238E27FC236}">
                      <a16:creationId xmlns:a16="http://schemas.microsoft.com/office/drawing/2014/main" id="{5AC3E81F-E62C-4111-9817-FA02D9DD75D2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1" name="Freeform: Shape 200">
                  <a:extLst>
                    <a:ext uri="{FF2B5EF4-FFF2-40B4-BE49-F238E27FC236}">
                      <a16:creationId xmlns:a16="http://schemas.microsoft.com/office/drawing/2014/main" id="{9F423C34-1C67-4B6A-898B-3ED584A70A6C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B9434711-6BA7-475F-AAD9-C1701BCE0994}"/>
                  </a:ext>
                </a:extLst>
              </p:cNvPr>
              <p:cNvGrpSpPr/>
              <p:nvPr/>
            </p:nvGrpSpPr>
            <p:grpSpPr>
              <a:xfrm>
                <a:off x="3242130" y="674802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198" name="Freeform: Shape 197">
                  <a:extLst>
                    <a:ext uri="{FF2B5EF4-FFF2-40B4-BE49-F238E27FC236}">
                      <a16:creationId xmlns:a16="http://schemas.microsoft.com/office/drawing/2014/main" id="{57660807-B6E8-4BB8-8B28-79021AD08455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9" name="Freeform: Shape 198">
                  <a:extLst>
                    <a:ext uri="{FF2B5EF4-FFF2-40B4-BE49-F238E27FC236}">
                      <a16:creationId xmlns:a16="http://schemas.microsoft.com/office/drawing/2014/main" id="{C79B775E-837F-4C61-8EFD-B3AE4FE7CBF3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92" name="Group 191">
                <a:extLst>
                  <a:ext uri="{FF2B5EF4-FFF2-40B4-BE49-F238E27FC236}">
                    <a16:creationId xmlns:a16="http://schemas.microsoft.com/office/drawing/2014/main" id="{3A2A2D1A-6130-45EB-ACF0-E041B3128573}"/>
                  </a:ext>
                </a:extLst>
              </p:cNvPr>
              <p:cNvGrpSpPr/>
              <p:nvPr/>
            </p:nvGrpSpPr>
            <p:grpSpPr>
              <a:xfrm>
                <a:off x="4972506" y="2589893"/>
                <a:ext cx="933447" cy="933447"/>
                <a:chOff x="3193143" y="1833336"/>
                <a:chExt cx="2757714" cy="2757714"/>
              </a:xfrm>
            </p:grpSpPr>
            <p:sp>
              <p:nvSpPr>
                <p:cNvPr id="196" name="Freeform: Shape 195">
                  <a:extLst>
                    <a:ext uri="{FF2B5EF4-FFF2-40B4-BE49-F238E27FC236}">
                      <a16:creationId xmlns:a16="http://schemas.microsoft.com/office/drawing/2014/main" id="{479FA3E2-6EE5-4EA9-BFB1-F171746F51C5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7" name="Freeform: Shape 196">
                  <a:extLst>
                    <a:ext uri="{FF2B5EF4-FFF2-40B4-BE49-F238E27FC236}">
                      <a16:creationId xmlns:a16="http://schemas.microsoft.com/office/drawing/2014/main" id="{24A16747-773C-4C67-9970-57F2B62C1CFE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93" name="Group 192">
                <a:extLst>
                  <a:ext uri="{FF2B5EF4-FFF2-40B4-BE49-F238E27FC236}">
                    <a16:creationId xmlns:a16="http://schemas.microsoft.com/office/drawing/2014/main" id="{F9BD200E-7064-4E8F-937E-01DC54E5306D}"/>
                  </a:ext>
                </a:extLst>
              </p:cNvPr>
              <p:cNvGrpSpPr/>
              <p:nvPr/>
            </p:nvGrpSpPr>
            <p:grpSpPr>
              <a:xfrm>
                <a:off x="4194006" y="378736"/>
                <a:ext cx="2280867" cy="2280867"/>
                <a:chOff x="3193144" y="1833336"/>
                <a:chExt cx="2757714" cy="2757714"/>
              </a:xfrm>
            </p:grpSpPr>
            <p:sp>
              <p:nvSpPr>
                <p:cNvPr id="194" name="Freeform: Shape 193">
                  <a:extLst>
                    <a:ext uri="{FF2B5EF4-FFF2-40B4-BE49-F238E27FC236}">
                      <a16:creationId xmlns:a16="http://schemas.microsoft.com/office/drawing/2014/main" id="{E1690817-4630-47B8-9576-E0910CE8C450}"/>
                    </a:ext>
                  </a:extLst>
                </p:cNvPr>
                <p:cNvSpPr/>
                <p:nvPr/>
              </p:nvSpPr>
              <p:spPr>
                <a:xfrm>
                  <a:off x="4572001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5" name="Freeform: Shape 194">
                  <a:extLst>
                    <a:ext uri="{FF2B5EF4-FFF2-40B4-BE49-F238E27FC236}">
                      <a16:creationId xmlns:a16="http://schemas.microsoft.com/office/drawing/2014/main" id="{E804A1AA-77DC-4EEC-B051-32E6333481E8}"/>
                    </a:ext>
                  </a:extLst>
                </p:cNvPr>
                <p:cNvSpPr/>
                <p:nvPr/>
              </p:nvSpPr>
              <p:spPr>
                <a:xfrm>
                  <a:off x="3193144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893C5607-E3D1-4097-B83E-9AD085B6E08D}"/>
              </a:ext>
            </a:extLst>
          </p:cNvPr>
          <p:cNvGrpSpPr/>
          <p:nvPr/>
        </p:nvGrpSpPr>
        <p:grpSpPr>
          <a:xfrm>
            <a:off x="-226886" y="3448675"/>
            <a:ext cx="3654564" cy="6175768"/>
            <a:chOff x="2820309" y="378736"/>
            <a:chExt cx="3654564" cy="6175768"/>
          </a:xfrm>
        </p:grpSpPr>
        <p:sp>
          <p:nvSpPr>
            <p:cNvPr id="261" name="Oval 260">
              <a:extLst>
                <a:ext uri="{FF2B5EF4-FFF2-40B4-BE49-F238E27FC236}">
                  <a16:creationId xmlns:a16="http://schemas.microsoft.com/office/drawing/2014/main" id="{80C7CFE1-9967-472A-B47D-47561E306114}"/>
                </a:ext>
              </a:extLst>
            </p:cNvPr>
            <p:cNvSpPr/>
            <p:nvPr/>
          </p:nvSpPr>
          <p:spPr>
            <a:xfrm>
              <a:off x="3245645" y="2718154"/>
              <a:ext cx="860537" cy="860537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8B064633-EA33-422D-810A-4A739EA1A6CF}"/>
                </a:ext>
              </a:extLst>
            </p:cNvPr>
            <p:cNvSpPr/>
            <p:nvPr/>
          </p:nvSpPr>
          <p:spPr>
            <a:xfrm>
              <a:off x="5340159" y="1982674"/>
              <a:ext cx="958455" cy="95845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11737514-83C6-4D02-9672-96BB9941213B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175768"/>
              <a:chOff x="2820309" y="378736"/>
              <a:chExt cx="3654564" cy="6175768"/>
            </a:xfrm>
          </p:grpSpPr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id="{09D48152-B082-499D-ADE1-72060203CE74}"/>
                  </a:ext>
                </a:extLst>
              </p:cNvPr>
              <p:cNvSpPr/>
              <p:nvPr/>
            </p:nvSpPr>
            <p:spPr>
              <a:xfrm>
                <a:off x="3007972" y="6213531"/>
                <a:ext cx="2917599" cy="340973"/>
              </a:xfrm>
              <a:prstGeom prst="ellipse">
                <a:avLst/>
              </a:pr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65" name="Group 264">
                <a:extLst>
                  <a:ext uri="{FF2B5EF4-FFF2-40B4-BE49-F238E27FC236}">
                    <a16:creationId xmlns:a16="http://schemas.microsoft.com/office/drawing/2014/main" id="{F929E2BD-1C4C-412C-B561-1DA9FA4AB5FD}"/>
                  </a:ext>
                </a:extLst>
              </p:cNvPr>
              <p:cNvGrpSpPr/>
              <p:nvPr/>
            </p:nvGrpSpPr>
            <p:grpSpPr>
              <a:xfrm>
                <a:off x="2820309" y="378736"/>
                <a:ext cx="3654564" cy="6005282"/>
                <a:chOff x="2820309" y="378736"/>
                <a:chExt cx="3654564" cy="6005282"/>
              </a:xfrm>
            </p:grpSpPr>
            <p:sp>
              <p:nvSpPr>
                <p:cNvPr id="266" name="Oval 265">
                  <a:extLst>
                    <a:ext uri="{FF2B5EF4-FFF2-40B4-BE49-F238E27FC236}">
                      <a16:creationId xmlns:a16="http://schemas.microsoft.com/office/drawing/2014/main" id="{749370DE-F192-40C3-B46B-C06F0F520F18}"/>
                    </a:ext>
                  </a:extLst>
                </p:cNvPr>
                <p:cNvSpPr/>
                <p:nvPr/>
              </p:nvSpPr>
              <p:spPr>
                <a:xfrm>
                  <a:off x="3147673" y="871875"/>
                  <a:ext cx="2892653" cy="2892653"/>
                </a:xfrm>
                <a:prstGeom prst="ellipse">
                  <a:avLst/>
                </a:pr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7" name="Oval 266">
                  <a:extLst>
                    <a:ext uri="{FF2B5EF4-FFF2-40B4-BE49-F238E27FC236}">
                      <a16:creationId xmlns:a16="http://schemas.microsoft.com/office/drawing/2014/main" id="{61A2BFA4-899E-44A3-8160-AB7085921BDB}"/>
                    </a:ext>
                  </a:extLst>
                </p:cNvPr>
                <p:cNvSpPr/>
                <p:nvPr/>
              </p:nvSpPr>
              <p:spPr>
                <a:xfrm>
                  <a:off x="3922657" y="2642142"/>
                  <a:ext cx="745216" cy="745216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68" name="Group 267">
                  <a:extLst>
                    <a:ext uri="{FF2B5EF4-FFF2-40B4-BE49-F238E27FC236}">
                      <a16:creationId xmlns:a16="http://schemas.microsoft.com/office/drawing/2014/main" id="{F9AE3E77-BECD-49D1-B484-D2167A8FCF14}"/>
                    </a:ext>
                  </a:extLst>
                </p:cNvPr>
                <p:cNvGrpSpPr/>
                <p:nvPr/>
              </p:nvGrpSpPr>
              <p:grpSpPr>
                <a:xfrm>
                  <a:off x="3439887" y="473982"/>
                  <a:ext cx="2026556" cy="5910036"/>
                  <a:chOff x="7271658" y="947964"/>
                  <a:chExt cx="2026556" cy="5910036"/>
                </a:xfrm>
              </p:grpSpPr>
              <p:grpSp>
                <p:nvGrpSpPr>
                  <p:cNvPr id="281" name="Group 280">
                    <a:extLst>
                      <a:ext uri="{FF2B5EF4-FFF2-40B4-BE49-F238E27FC236}">
                        <a16:creationId xmlns:a16="http://schemas.microsoft.com/office/drawing/2014/main" id="{71D9E0E5-BE25-470E-BFEC-B7A95861174E}"/>
                      </a:ext>
                    </a:extLst>
                  </p:cNvPr>
                  <p:cNvGrpSpPr/>
                  <p:nvPr/>
                </p:nvGrpSpPr>
                <p:grpSpPr>
                  <a:xfrm>
                    <a:off x="8069943" y="2324100"/>
                    <a:ext cx="457200" cy="4533900"/>
                    <a:chOff x="8069943" y="2324100"/>
                    <a:chExt cx="457200" cy="4533900"/>
                  </a:xfrm>
                </p:grpSpPr>
                <p:sp>
                  <p:nvSpPr>
                    <p:cNvPr id="286" name="Freeform: Shape 285">
                      <a:extLst>
                        <a:ext uri="{FF2B5EF4-FFF2-40B4-BE49-F238E27FC236}">
                          <a16:creationId xmlns:a16="http://schemas.microsoft.com/office/drawing/2014/main" id="{5C403B69-9CF9-462E-A21C-099B3B8E82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298543" y="2324100"/>
                      <a:ext cx="228600" cy="4533900"/>
                    </a:xfrm>
                    <a:custGeom>
                      <a:avLst/>
                      <a:gdLst>
                        <a:gd name="connsiteX0" fmla="*/ 0 w 228600"/>
                        <a:gd name="connsiteY0" fmla="*/ 0 h 4533900"/>
                        <a:gd name="connsiteX1" fmla="*/ 114300 w 228600"/>
                        <a:gd name="connsiteY1" fmla="*/ 0 h 4533900"/>
                        <a:gd name="connsiteX2" fmla="*/ 228600 w 228600"/>
                        <a:gd name="connsiteY2" fmla="*/ 4533900 h 4533900"/>
                        <a:gd name="connsiteX3" fmla="*/ 0 w 228600"/>
                        <a:gd name="connsiteY3" fmla="*/ 4533900 h 4533900"/>
                        <a:gd name="connsiteX4" fmla="*/ 0 w 228600"/>
                        <a:gd name="connsiteY4" fmla="*/ 0 h 45339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28600" h="4533900">
                          <a:moveTo>
                            <a:pt x="0" y="0"/>
                          </a:moveTo>
                          <a:lnTo>
                            <a:pt x="114300" y="0"/>
                          </a:lnTo>
                          <a:lnTo>
                            <a:pt x="228600" y="4533900"/>
                          </a:lnTo>
                          <a:lnTo>
                            <a:pt x="0" y="45339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sp>
                  <p:nvSpPr>
                    <p:cNvPr id="287" name="Freeform: Shape 286">
                      <a:extLst>
                        <a:ext uri="{FF2B5EF4-FFF2-40B4-BE49-F238E27FC236}">
                          <a16:creationId xmlns:a16="http://schemas.microsoft.com/office/drawing/2014/main" id="{74AF06F2-8F56-49DE-A47C-93B1A6009F4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69943" y="2324100"/>
                      <a:ext cx="228600" cy="4533900"/>
                    </a:xfrm>
                    <a:custGeom>
                      <a:avLst/>
                      <a:gdLst>
                        <a:gd name="connsiteX0" fmla="*/ 114300 w 228600"/>
                        <a:gd name="connsiteY0" fmla="*/ 0 h 4533900"/>
                        <a:gd name="connsiteX1" fmla="*/ 228600 w 228600"/>
                        <a:gd name="connsiteY1" fmla="*/ 0 h 4533900"/>
                        <a:gd name="connsiteX2" fmla="*/ 228600 w 228600"/>
                        <a:gd name="connsiteY2" fmla="*/ 4533900 h 4533900"/>
                        <a:gd name="connsiteX3" fmla="*/ 0 w 228600"/>
                        <a:gd name="connsiteY3" fmla="*/ 4533900 h 4533900"/>
                        <a:gd name="connsiteX4" fmla="*/ 114300 w 228600"/>
                        <a:gd name="connsiteY4" fmla="*/ 0 h 45339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28600" h="4533900">
                          <a:moveTo>
                            <a:pt x="114300" y="0"/>
                          </a:moveTo>
                          <a:lnTo>
                            <a:pt x="228600" y="0"/>
                          </a:lnTo>
                          <a:lnTo>
                            <a:pt x="228600" y="4533900"/>
                          </a:lnTo>
                          <a:lnTo>
                            <a:pt x="0" y="4533900"/>
                          </a:lnTo>
                          <a:lnTo>
                            <a:pt x="114300" y="0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7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  <p:sp>
                <p:nvSpPr>
                  <p:cNvPr id="282" name="Block Arc 281">
                    <a:extLst>
                      <a:ext uri="{FF2B5EF4-FFF2-40B4-BE49-F238E27FC236}">
                        <a16:creationId xmlns:a16="http://schemas.microsoft.com/office/drawing/2014/main" id="{1031E7B8-57EE-4A89-A925-8CE012B66077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7271658" y="2061029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3" name="Block Arc 282">
                    <a:extLst>
                      <a:ext uri="{FF2B5EF4-FFF2-40B4-BE49-F238E27FC236}">
                        <a16:creationId xmlns:a16="http://schemas.microsoft.com/office/drawing/2014/main" id="{914ED85A-9098-42F1-80F5-C35C5E5D1EA2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7300686" y="947964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4" name="Block Arc 283">
                    <a:extLst>
                      <a:ext uri="{FF2B5EF4-FFF2-40B4-BE49-F238E27FC236}">
                        <a16:creationId xmlns:a16="http://schemas.microsoft.com/office/drawing/2014/main" id="{4391965A-E7F2-4C79-94EE-87D59B5BBB04}"/>
                      </a:ext>
                    </a:extLst>
                  </p:cNvPr>
                  <p:cNvSpPr/>
                  <p:nvPr/>
                </p:nvSpPr>
                <p:spPr>
                  <a:xfrm rot="5400000" flipH="1">
                    <a:off x="7527471" y="2669268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5" name="Block Arc 284">
                    <a:extLst>
                      <a:ext uri="{FF2B5EF4-FFF2-40B4-BE49-F238E27FC236}">
                        <a16:creationId xmlns:a16="http://schemas.microsoft.com/office/drawing/2014/main" id="{CDF56040-785E-47E9-9E95-08249D54835F}"/>
                      </a:ext>
                    </a:extLst>
                  </p:cNvPr>
                  <p:cNvSpPr/>
                  <p:nvPr/>
                </p:nvSpPr>
                <p:spPr>
                  <a:xfrm rot="5400000" flipH="1">
                    <a:off x="7527471" y="1544411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269" name="Group 268">
                  <a:extLst>
                    <a:ext uri="{FF2B5EF4-FFF2-40B4-BE49-F238E27FC236}">
                      <a16:creationId xmlns:a16="http://schemas.microsoft.com/office/drawing/2014/main" id="{48610456-1610-47CB-8E28-E55E8BA548A4}"/>
                    </a:ext>
                  </a:extLst>
                </p:cNvPr>
                <p:cNvGrpSpPr/>
                <p:nvPr/>
              </p:nvGrpSpPr>
              <p:grpSpPr>
                <a:xfrm>
                  <a:off x="2820309" y="1647146"/>
                  <a:ext cx="1307872" cy="1307872"/>
                  <a:chOff x="3193143" y="1833336"/>
                  <a:chExt cx="2757714" cy="2757714"/>
                </a:xfrm>
              </p:grpSpPr>
              <p:sp>
                <p:nvSpPr>
                  <p:cNvPr id="279" name="Freeform: Shape 278">
                    <a:extLst>
                      <a:ext uri="{FF2B5EF4-FFF2-40B4-BE49-F238E27FC236}">
                        <a16:creationId xmlns:a16="http://schemas.microsoft.com/office/drawing/2014/main" id="{AC68152C-E5AB-488A-B6B7-710D7E0EB52D}"/>
                      </a:ext>
                    </a:extLst>
                  </p:cNvPr>
                  <p:cNvSpPr/>
                  <p:nvPr/>
                </p:nvSpPr>
                <p:spPr>
                  <a:xfrm>
                    <a:off x="4572000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80" name="Freeform: Shape 279">
                    <a:extLst>
                      <a:ext uri="{FF2B5EF4-FFF2-40B4-BE49-F238E27FC236}">
                        <a16:creationId xmlns:a16="http://schemas.microsoft.com/office/drawing/2014/main" id="{0E99F54C-79F1-48DE-B629-F2BE657D434B}"/>
                      </a:ext>
                    </a:extLst>
                  </p:cNvPr>
                  <p:cNvSpPr/>
                  <p:nvPr/>
                </p:nvSpPr>
                <p:spPr>
                  <a:xfrm>
                    <a:off x="3193143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270" name="Group 269">
                  <a:extLst>
                    <a:ext uri="{FF2B5EF4-FFF2-40B4-BE49-F238E27FC236}">
                      <a16:creationId xmlns:a16="http://schemas.microsoft.com/office/drawing/2014/main" id="{EC12A587-A06B-4366-A15F-49778B650E05}"/>
                    </a:ext>
                  </a:extLst>
                </p:cNvPr>
                <p:cNvGrpSpPr/>
                <p:nvPr/>
              </p:nvGrpSpPr>
              <p:grpSpPr>
                <a:xfrm>
                  <a:off x="3242130" y="674802"/>
                  <a:ext cx="1307872" cy="1307872"/>
                  <a:chOff x="3193143" y="1833336"/>
                  <a:chExt cx="2757714" cy="2757714"/>
                </a:xfrm>
              </p:grpSpPr>
              <p:sp>
                <p:nvSpPr>
                  <p:cNvPr id="277" name="Freeform: Shape 276">
                    <a:extLst>
                      <a:ext uri="{FF2B5EF4-FFF2-40B4-BE49-F238E27FC236}">
                        <a16:creationId xmlns:a16="http://schemas.microsoft.com/office/drawing/2014/main" id="{AAA19CC1-7D06-4455-BAA2-2497DB900301}"/>
                      </a:ext>
                    </a:extLst>
                  </p:cNvPr>
                  <p:cNvSpPr/>
                  <p:nvPr/>
                </p:nvSpPr>
                <p:spPr>
                  <a:xfrm>
                    <a:off x="4572000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78" name="Freeform: Shape 277">
                    <a:extLst>
                      <a:ext uri="{FF2B5EF4-FFF2-40B4-BE49-F238E27FC236}">
                        <a16:creationId xmlns:a16="http://schemas.microsoft.com/office/drawing/2014/main" id="{233429D5-0A71-4355-8377-10AA009A3E7B}"/>
                      </a:ext>
                    </a:extLst>
                  </p:cNvPr>
                  <p:cNvSpPr/>
                  <p:nvPr/>
                </p:nvSpPr>
                <p:spPr>
                  <a:xfrm>
                    <a:off x="3193143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271" name="Group 270">
                  <a:extLst>
                    <a:ext uri="{FF2B5EF4-FFF2-40B4-BE49-F238E27FC236}">
                      <a16:creationId xmlns:a16="http://schemas.microsoft.com/office/drawing/2014/main" id="{C90111D6-5923-4F20-BC9F-C09CB97083B7}"/>
                    </a:ext>
                  </a:extLst>
                </p:cNvPr>
                <p:cNvGrpSpPr/>
                <p:nvPr/>
              </p:nvGrpSpPr>
              <p:grpSpPr>
                <a:xfrm>
                  <a:off x="4972506" y="2589893"/>
                  <a:ext cx="933447" cy="933447"/>
                  <a:chOff x="3193143" y="1833336"/>
                  <a:chExt cx="2757714" cy="2757714"/>
                </a:xfrm>
              </p:grpSpPr>
              <p:sp>
                <p:nvSpPr>
                  <p:cNvPr id="275" name="Freeform: Shape 274">
                    <a:extLst>
                      <a:ext uri="{FF2B5EF4-FFF2-40B4-BE49-F238E27FC236}">
                        <a16:creationId xmlns:a16="http://schemas.microsoft.com/office/drawing/2014/main" id="{D853E728-217E-4E62-8858-EB73236E0A0A}"/>
                      </a:ext>
                    </a:extLst>
                  </p:cNvPr>
                  <p:cNvSpPr/>
                  <p:nvPr/>
                </p:nvSpPr>
                <p:spPr>
                  <a:xfrm>
                    <a:off x="4572000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76" name="Freeform: Shape 275">
                    <a:extLst>
                      <a:ext uri="{FF2B5EF4-FFF2-40B4-BE49-F238E27FC236}">
                        <a16:creationId xmlns:a16="http://schemas.microsoft.com/office/drawing/2014/main" id="{2CDD7F8D-5CB1-414F-A2DB-CA4CB52D45ED}"/>
                      </a:ext>
                    </a:extLst>
                  </p:cNvPr>
                  <p:cNvSpPr/>
                  <p:nvPr/>
                </p:nvSpPr>
                <p:spPr>
                  <a:xfrm>
                    <a:off x="3193143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272" name="Group 271">
                  <a:extLst>
                    <a:ext uri="{FF2B5EF4-FFF2-40B4-BE49-F238E27FC236}">
                      <a16:creationId xmlns:a16="http://schemas.microsoft.com/office/drawing/2014/main" id="{C1B95655-1AB7-4577-8422-5A3445CA5518}"/>
                    </a:ext>
                  </a:extLst>
                </p:cNvPr>
                <p:cNvGrpSpPr/>
                <p:nvPr/>
              </p:nvGrpSpPr>
              <p:grpSpPr>
                <a:xfrm>
                  <a:off x="4194006" y="378736"/>
                  <a:ext cx="2280867" cy="2280867"/>
                  <a:chOff x="3193144" y="1833336"/>
                  <a:chExt cx="2757714" cy="2757714"/>
                </a:xfrm>
              </p:grpSpPr>
              <p:sp>
                <p:nvSpPr>
                  <p:cNvPr id="273" name="Freeform: Shape 272">
                    <a:extLst>
                      <a:ext uri="{FF2B5EF4-FFF2-40B4-BE49-F238E27FC236}">
                        <a16:creationId xmlns:a16="http://schemas.microsoft.com/office/drawing/2014/main" id="{0F61092A-0DA1-4924-91AB-C93F009DE4B5}"/>
                      </a:ext>
                    </a:extLst>
                  </p:cNvPr>
                  <p:cNvSpPr/>
                  <p:nvPr/>
                </p:nvSpPr>
                <p:spPr>
                  <a:xfrm>
                    <a:off x="4572001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74" name="Freeform: Shape 273">
                    <a:extLst>
                      <a:ext uri="{FF2B5EF4-FFF2-40B4-BE49-F238E27FC236}">
                        <a16:creationId xmlns:a16="http://schemas.microsoft.com/office/drawing/2014/main" id="{F8D08B5F-75C6-4767-9003-326BA3760875}"/>
                      </a:ext>
                    </a:extLst>
                  </p:cNvPr>
                  <p:cNvSpPr/>
                  <p:nvPr/>
                </p:nvSpPr>
                <p:spPr>
                  <a:xfrm>
                    <a:off x="3193144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</p:grpSp>
      <p:grpSp>
        <p:nvGrpSpPr>
          <p:cNvPr id="328" name="Group 327">
            <a:extLst>
              <a:ext uri="{FF2B5EF4-FFF2-40B4-BE49-F238E27FC236}">
                <a16:creationId xmlns:a16="http://schemas.microsoft.com/office/drawing/2014/main" id="{179ABC87-D932-4F32-86DB-62985E6FCE41}"/>
              </a:ext>
            </a:extLst>
          </p:cNvPr>
          <p:cNvGrpSpPr/>
          <p:nvPr/>
        </p:nvGrpSpPr>
        <p:grpSpPr>
          <a:xfrm>
            <a:off x="5978135" y="3731527"/>
            <a:ext cx="1225763" cy="2280867"/>
            <a:chOff x="2854597" y="111992"/>
            <a:chExt cx="3438826" cy="6398874"/>
          </a:xfrm>
        </p:grpSpPr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F5518BD1-F1FF-4CEB-8A7E-6AD3F41F5808}"/>
                </a:ext>
              </a:extLst>
            </p:cNvPr>
            <p:cNvSpPr/>
            <p:nvPr/>
          </p:nvSpPr>
          <p:spPr>
            <a:xfrm>
              <a:off x="3443457" y="6186824"/>
              <a:ext cx="2257086" cy="324042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FD9B2C39-B25E-46E6-97E4-5875CFCEDBFE}"/>
                </a:ext>
              </a:extLst>
            </p:cNvPr>
            <p:cNvGrpSpPr/>
            <p:nvPr/>
          </p:nvGrpSpPr>
          <p:grpSpPr>
            <a:xfrm>
              <a:off x="2854597" y="111992"/>
              <a:ext cx="3438826" cy="6236853"/>
              <a:chOff x="2854597" y="111992"/>
              <a:chExt cx="3438826" cy="6236853"/>
            </a:xfrm>
          </p:grpSpPr>
          <p:sp>
            <p:nvSpPr>
              <p:cNvPr id="331" name="Oval 330">
                <a:extLst>
                  <a:ext uri="{FF2B5EF4-FFF2-40B4-BE49-F238E27FC236}">
                    <a16:creationId xmlns:a16="http://schemas.microsoft.com/office/drawing/2014/main" id="{92688A97-391E-47F4-AFF2-A6811CF6CFFF}"/>
                  </a:ext>
                </a:extLst>
              </p:cNvPr>
              <p:cNvSpPr/>
              <p:nvPr/>
            </p:nvSpPr>
            <p:spPr>
              <a:xfrm rot="14026178" flipH="1">
                <a:off x="3674396" y="1644238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2" name="Oval 331">
                <a:extLst>
                  <a:ext uri="{FF2B5EF4-FFF2-40B4-BE49-F238E27FC236}">
                    <a16:creationId xmlns:a16="http://schemas.microsoft.com/office/drawing/2014/main" id="{E3E30FF7-58CB-4678-AE51-7C8866C464C8}"/>
                  </a:ext>
                </a:extLst>
              </p:cNvPr>
              <p:cNvSpPr/>
              <p:nvPr/>
            </p:nvSpPr>
            <p:spPr>
              <a:xfrm rot="7573822">
                <a:off x="5219769" y="1626843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3" name="Oval 332">
                <a:extLst>
                  <a:ext uri="{FF2B5EF4-FFF2-40B4-BE49-F238E27FC236}">
                    <a16:creationId xmlns:a16="http://schemas.microsoft.com/office/drawing/2014/main" id="{B410577B-6F5F-4047-BBEB-D0BE9AD60D66}"/>
                  </a:ext>
                </a:extLst>
              </p:cNvPr>
              <p:cNvSpPr/>
              <p:nvPr/>
            </p:nvSpPr>
            <p:spPr>
              <a:xfrm>
                <a:off x="4445071" y="111992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4" name="Trapezoid 333">
                <a:extLst>
                  <a:ext uri="{FF2B5EF4-FFF2-40B4-BE49-F238E27FC236}">
                    <a16:creationId xmlns:a16="http://schemas.microsoft.com/office/drawing/2014/main" id="{C242F042-EBFF-4337-B83B-BC59A52E2A6F}"/>
                  </a:ext>
                </a:extLst>
              </p:cNvPr>
              <p:cNvSpPr/>
              <p:nvPr/>
            </p:nvSpPr>
            <p:spPr>
              <a:xfrm>
                <a:off x="4371975" y="2234045"/>
                <a:ext cx="400050" cy="4114800"/>
              </a:xfrm>
              <a:prstGeom prst="trapezoid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5" name="Oval 334">
                <a:extLst>
                  <a:ext uri="{FF2B5EF4-FFF2-40B4-BE49-F238E27FC236}">
                    <a16:creationId xmlns:a16="http://schemas.microsoft.com/office/drawing/2014/main" id="{F1E1F6DC-4276-446A-AFEC-0306F25AA8CB}"/>
                  </a:ext>
                </a:extLst>
              </p:cNvPr>
              <p:cNvSpPr/>
              <p:nvPr/>
            </p:nvSpPr>
            <p:spPr>
              <a:xfrm>
                <a:off x="4281343" y="1776845"/>
                <a:ext cx="581314" cy="5813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6" name="Oval 335">
                <a:extLst>
                  <a:ext uri="{FF2B5EF4-FFF2-40B4-BE49-F238E27FC236}">
                    <a16:creationId xmlns:a16="http://schemas.microsoft.com/office/drawing/2014/main" id="{A6A90CF5-E42B-4869-93EF-541D8ACB7D3E}"/>
                  </a:ext>
                </a:extLst>
              </p:cNvPr>
              <p:cNvSpPr/>
              <p:nvPr/>
            </p:nvSpPr>
            <p:spPr>
              <a:xfrm>
                <a:off x="4416136" y="1911638"/>
                <a:ext cx="311727" cy="311727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8AEDBEA2-A4B1-4319-A2DB-0FD576062F1A}"/>
              </a:ext>
            </a:extLst>
          </p:cNvPr>
          <p:cNvGrpSpPr/>
          <p:nvPr/>
        </p:nvGrpSpPr>
        <p:grpSpPr>
          <a:xfrm>
            <a:off x="6702216" y="3816669"/>
            <a:ext cx="1126006" cy="2095241"/>
            <a:chOff x="2854597" y="111992"/>
            <a:chExt cx="3438826" cy="6398874"/>
          </a:xfrm>
        </p:grpSpPr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C7FD9092-BD1A-40A7-A66F-A33D1F9B25F5}"/>
                </a:ext>
              </a:extLst>
            </p:cNvPr>
            <p:cNvSpPr/>
            <p:nvPr/>
          </p:nvSpPr>
          <p:spPr>
            <a:xfrm>
              <a:off x="3443457" y="6186824"/>
              <a:ext cx="2257086" cy="324042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9" name="Group 338">
              <a:extLst>
                <a:ext uri="{FF2B5EF4-FFF2-40B4-BE49-F238E27FC236}">
                  <a16:creationId xmlns:a16="http://schemas.microsoft.com/office/drawing/2014/main" id="{7D28CDFB-E28B-49FE-A3B0-C89D93508686}"/>
                </a:ext>
              </a:extLst>
            </p:cNvPr>
            <p:cNvGrpSpPr/>
            <p:nvPr/>
          </p:nvGrpSpPr>
          <p:grpSpPr>
            <a:xfrm>
              <a:off x="2854597" y="111992"/>
              <a:ext cx="3438826" cy="6236853"/>
              <a:chOff x="2854597" y="111992"/>
              <a:chExt cx="3438826" cy="6236853"/>
            </a:xfrm>
          </p:grpSpPr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C08D52AE-9AA1-46D3-9ED4-9FCD286C71D8}"/>
                  </a:ext>
                </a:extLst>
              </p:cNvPr>
              <p:cNvSpPr/>
              <p:nvPr/>
            </p:nvSpPr>
            <p:spPr>
              <a:xfrm rot="14026178" flipH="1">
                <a:off x="3674396" y="1644238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1" name="Oval 340">
                <a:extLst>
                  <a:ext uri="{FF2B5EF4-FFF2-40B4-BE49-F238E27FC236}">
                    <a16:creationId xmlns:a16="http://schemas.microsoft.com/office/drawing/2014/main" id="{ED3DB604-F694-47B8-BB7A-1D2BD6826041}"/>
                  </a:ext>
                </a:extLst>
              </p:cNvPr>
              <p:cNvSpPr/>
              <p:nvPr/>
            </p:nvSpPr>
            <p:spPr>
              <a:xfrm rot="7573822">
                <a:off x="5219769" y="1626843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2" name="Oval 341">
                <a:extLst>
                  <a:ext uri="{FF2B5EF4-FFF2-40B4-BE49-F238E27FC236}">
                    <a16:creationId xmlns:a16="http://schemas.microsoft.com/office/drawing/2014/main" id="{EF7A8DC4-9B59-46C6-9AE0-B4F4CA623105}"/>
                  </a:ext>
                </a:extLst>
              </p:cNvPr>
              <p:cNvSpPr/>
              <p:nvPr/>
            </p:nvSpPr>
            <p:spPr>
              <a:xfrm>
                <a:off x="4445071" y="111992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3" name="Trapezoid 342">
                <a:extLst>
                  <a:ext uri="{FF2B5EF4-FFF2-40B4-BE49-F238E27FC236}">
                    <a16:creationId xmlns:a16="http://schemas.microsoft.com/office/drawing/2014/main" id="{DAE5DAA9-36AC-4011-B677-64491276B2B4}"/>
                  </a:ext>
                </a:extLst>
              </p:cNvPr>
              <p:cNvSpPr/>
              <p:nvPr/>
            </p:nvSpPr>
            <p:spPr>
              <a:xfrm>
                <a:off x="4371975" y="2234045"/>
                <a:ext cx="400050" cy="4114800"/>
              </a:xfrm>
              <a:prstGeom prst="trapezoid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4" name="Oval 343">
                <a:extLst>
                  <a:ext uri="{FF2B5EF4-FFF2-40B4-BE49-F238E27FC236}">
                    <a16:creationId xmlns:a16="http://schemas.microsoft.com/office/drawing/2014/main" id="{91402804-AB60-4C3E-9982-B3BD33849A98}"/>
                  </a:ext>
                </a:extLst>
              </p:cNvPr>
              <p:cNvSpPr/>
              <p:nvPr/>
            </p:nvSpPr>
            <p:spPr>
              <a:xfrm>
                <a:off x="4281343" y="1776845"/>
                <a:ext cx="581314" cy="5813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5" name="Oval 344">
                <a:extLst>
                  <a:ext uri="{FF2B5EF4-FFF2-40B4-BE49-F238E27FC236}">
                    <a16:creationId xmlns:a16="http://schemas.microsoft.com/office/drawing/2014/main" id="{3C7845DD-0F56-4F51-819C-E8C3895A0ACB}"/>
                  </a:ext>
                </a:extLst>
              </p:cNvPr>
              <p:cNvSpPr/>
              <p:nvPr/>
            </p:nvSpPr>
            <p:spPr>
              <a:xfrm>
                <a:off x="4416136" y="1911638"/>
                <a:ext cx="311727" cy="311727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35D619A3-B3E1-48B2-9815-CB0A7EFDE0B4}"/>
              </a:ext>
            </a:extLst>
          </p:cNvPr>
          <p:cNvGrpSpPr/>
          <p:nvPr/>
        </p:nvGrpSpPr>
        <p:grpSpPr>
          <a:xfrm>
            <a:off x="6131623" y="5033660"/>
            <a:ext cx="1358773" cy="2296162"/>
            <a:chOff x="2820309" y="378736"/>
            <a:chExt cx="3654564" cy="6175768"/>
          </a:xfrm>
        </p:grpSpPr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FF9B2D11-9343-48BB-A5A2-1BA81A40E8B4}"/>
                </a:ext>
              </a:extLst>
            </p:cNvPr>
            <p:cNvSpPr/>
            <p:nvPr/>
          </p:nvSpPr>
          <p:spPr>
            <a:xfrm>
              <a:off x="3007972" y="6213531"/>
              <a:ext cx="2917599" cy="340973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id="{A173A6F9-D82A-45CF-B50D-6973CFAF6B99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005282"/>
              <a:chOff x="2820309" y="378736"/>
              <a:chExt cx="3654564" cy="6005282"/>
            </a:xfrm>
          </p:grpSpPr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0CDAD1ED-A3F0-47DD-8DB1-4B106FF2B86F}"/>
                  </a:ext>
                </a:extLst>
              </p:cNvPr>
              <p:cNvSpPr/>
              <p:nvPr/>
            </p:nvSpPr>
            <p:spPr>
              <a:xfrm>
                <a:off x="3147673" y="871875"/>
                <a:ext cx="2892653" cy="289265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7475F716-A5A5-4212-99E6-5FB6470B7193}"/>
                  </a:ext>
                </a:extLst>
              </p:cNvPr>
              <p:cNvSpPr/>
              <p:nvPr/>
            </p:nvSpPr>
            <p:spPr>
              <a:xfrm>
                <a:off x="3922657" y="2642142"/>
                <a:ext cx="745216" cy="74521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9" name="Group 238">
                <a:extLst>
                  <a:ext uri="{FF2B5EF4-FFF2-40B4-BE49-F238E27FC236}">
                    <a16:creationId xmlns:a16="http://schemas.microsoft.com/office/drawing/2014/main" id="{46B01C26-6586-43EB-8125-A91C9ACC858F}"/>
                  </a:ext>
                </a:extLst>
              </p:cNvPr>
              <p:cNvGrpSpPr/>
              <p:nvPr/>
            </p:nvGrpSpPr>
            <p:grpSpPr>
              <a:xfrm>
                <a:off x="3439887" y="473982"/>
                <a:ext cx="2026556" cy="5910036"/>
                <a:chOff x="7271658" y="947964"/>
                <a:chExt cx="2026556" cy="5910036"/>
              </a:xfrm>
            </p:grpSpPr>
            <p:grpSp>
              <p:nvGrpSpPr>
                <p:cNvPr id="252" name="Group 251">
                  <a:extLst>
                    <a:ext uri="{FF2B5EF4-FFF2-40B4-BE49-F238E27FC236}">
                      <a16:creationId xmlns:a16="http://schemas.microsoft.com/office/drawing/2014/main" id="{D0CB3ED4-6B79-4864-9D68-A87B2071DE9D}"/>
                    </a:ext>
                  </a:extLst>
                </p:cNvPr>
                <p:cNvGrpSpPr/>
                <p:nvPr/>
              </p:nvGrpSpPr>
              <p:grpSpPr>
                <a:xfrm>
                  <a:off x="8069943" y="2324100"/>
                  <a:ext cx="457200" cy="4533900"/>
                  <a:chOff x="8069943" y="2324100"/>
                  <a:chExt cx="457200" cy="4533900"/>
                </a:xfrm>
              </p:grpSpPr>
              <p:sp>
                <p:nvSpPr>
                  <p:cNvPr id="257" name="Freeform: Shape 256">
                    <a:extLst>
                      <a:ext uri="{FF2B5EF4-FFF2-40B4-BE49-F238E27FC236}">
                        <a16:creationId xmlns:a16="http://schemas.microsoft.com/office/drawing/2014/main" id="{B0C42D8C-ED45-4049-B36F-3A7D2A4E7B42}"/>
                      </a:ext>
                    </a:extLst>
                  </p:cNvPr>
                  <p:cNvSpPr/>
                  <p:nvPr/>
                </p:nvSpPr>
                <p:spPr>
                  <a:xfrm>
                    <a:off x="8298543" y="2324100"/>
                    <a:ext cx="228600" cy="4533900"/>
                  </a:xfrm>
                  <a:custGeom>
                    <a:avLst/>
                    <a:gdLst>
                      <a:gd name="connsiteX0" fmla="*/ 0 w 228600"/>
                      <a:gd name="connsiteY0" fmla="*/ 0 h 4533900"/>
                      <a:gd name="connsiteX1" fmla="*/ 1143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0" y="0"/>
                        </a:moveTo>
                        <a:lnTo>
                          <a:pt x="1143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58" name="Freeform: Shape 257">
                    <a:extLst>
                      <a:ext uri="{FF2B5EF4-FFF2-40B4-BE49-F238E27FC236}">
                        <a16:creationId xmlns:a16="http://schemas.microsoft.com/office/drawing/2014/main" id="{A6FD5B3F-AEBE-4A90-B431-53EAE9914883}"/>
                      </a:ext>
                    </a:extLst>
                  </p:cNvPr>
                  <p:cNvSpPr/>
                  <p:nvPr/>
                </p:nvSpPr>
                <p:spPr>
                  <a:xfrm>
                    <a:off x="8069943" y="2324100"/>
                    <a:ext cx="228600" cy="4533900"/>
                  </a:xfrm>
                  <a:custGeom>
                    <a:avLst/>
                    <a:gdLst>
                      <a:gd name="connsiteX0" fmla="*/ 114300 w 228600"/>
                      <a:gd name="connsiteY0" fmla="*/ 0 h 4533900"/>
                      <a:gd name="connsiteX1" fmla="*/ 2286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11430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114300" y="0"/>
                        </a:moveTo>
                        <a:lnTo>
                          <a:pt x="2286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114300" y="0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53" name="Block Arc 252">
                  <a:extLst>
                    <a:ext uri="{FF2B5EF4-FFF2-40B4-BE49-F238E27FC236}">
                      <a16:creationId xmlns:a16="http://schemas.microsoft.com/office/drawing/2014/main" id="{35357A2A-883B-4F6F-863C-C368F343DCDE}"/>
                    </a:ext>
                  </a:extLst>
                </p:cNvPr>
                <p:cNvSpPr/>
                <p:nvPr/>
              </p:nvSpPr>
              <p:spPr>
                <a:xfrm rot="16200000">
                  <a:off x="7271658" y="2061029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4" name="Block Arc 253">
                  <a:extLst>
                    <a:ext uri="{FF2B5EF4-FFF2-40B4-BE49-F238E27FC236}">
                      <a16:creationId xmlns:a16="http://schemas.microsoft.com/office/drawing/2014/main" id="{FDEAC806-B84C-467D-A7C0-DEBC461FD346}"/>
                    </a:ext>
                  </a:extLst>
                </p:cNvPr>
                <p:cNvSpPr/>
                <p:nvPr/>
              </p:nvSpPr>
              <p:spPr>
                <a:xfrm rot="16200000">
                  <a:off x="7300686" y="947964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5" name="Block Arc 254">
                  <a:extLst>
                    <a:ext uri="{FF2B5EF4-FFF2-40B4-BE49-F238E27FC236}">
                      <a16:creationId xmlns:a16="http://schemas.microsoft.com/office/drawing/2014/main" id="{D18AEFE0-1B54-48AA-9E21-F6CE856E7129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2669268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6" name="Block Arc 255">
                  <a:extLst>
                    <a:ext uri="{FF2B5EF4-FFF2-40B4-BE49-F238E27FC236}">
                      <a16:creationId xmlns:a16="http://schemas.microsoft.com/office/drawing/2014/main" id="{D819A5C0-DFE5-4DEF-9659-E0AC9CD94080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1544411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40" name="Group 239">
                <a:extLst>
                  <a:ext uri="{FF2B5EF4-FFF2-40B4-BE49-F238E27FC236}">
                    <a16:creationId xmlns:a16="http://schemas.microsoft.com/office/drawing/2014/main" id="{296077CF-AE98-470A-9724-3EB300C7B148}"/>
                  </a:ext>
                </a:extLst>
              </p:cNvPr>
              <p:cNvGrpSpPr/>
              <p:nvPr/>
            </p:nvGrpSpPr>
            <p:grpSpPr>
              <a:xfrm>
                <a:off x="2820309" y="1647146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250" name="Freeform: Shape 249">
                  <a:extLst>
                    <a:ext uri="{FF2B5EF4-FFF2-40B4-BE49-F238E27FC236}">
                      <a16:creationId xmlns:a16="http://schemas.microsoft.com/office/drawing/2014/main" id="{AB47995A-F112-48D5-BFFF-BC286A3CC541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1" name="Freeform: Shape 250">
                  <a:extLst>
                    <a:ext uri="{FF2B5EF4-FFF2-40B4-BE49-F238E27FC236}">
                      <a16:creationId xmlns:a16="http://schemas.microsoft.com/office/drawing/2014/main" id="{A6661DF0-F095-4ED0-AB69-017A36E418A0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41" name="Group 240">
                <a:extLst>
                  <a:ext uri="{FF2B5EF4-FFF2-40B4-BE49-F238E27FC236}">
                    <a16:creationId xmlns:a16="http://schemas.microsoft.com/office/drawing/2014/main" id="{7EC7D0BB-0450-4565-ABCC-0F1B8BD486C4}"/>
                  </a:ext>
                </a:extLst>
              </p:cNvPr>
              <p:cNvGrpSpPr/>
              <p:nvPr/>
            </p:nvGrpSpPr>
            <p:grpSpPr>
              <a:xfrm>
                <a:off x="3242130" y="674802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248" name="Freeform: Shape 247">
                  <a:extLst>
                    <a:ext uri="{FF2B5EF4-FFF2-40B4-BE49-F238E27FC236}">
                      <a16:creationId xmlns:a16="http://schemas.microsoft.com/office/drawing/2014/main" id="{41FC3C5A-F9B6-4535-A854-3EF0CB532F82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9" name="Freeform: Shape 248">
                  <a:extLst>
                    <a:ext uri="{FF2B5EF4-FFF2-40B4-BE49-F238E27FC236}">
                      <a16:creationId xmlns:a16="http://schemas.microsoft.com/office/drawing/2014/main" id="{AFD21B21-DC17-4309-82A6-8DF4C4BFACC0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42" name="Group 241">
                <a:extLst>
                  <a:ext uri="{FF2B5EF4-FFF2-40B4-BE49-F238E27FC236}">
                    <a16:creationId xmlns:a16="http://schemas.microsoft.com/office/drawing/2014/main" id="{E4E3E0BA-2787-4EEC-869E-CA656F5DA010}"/>
                  </a:ext>
                </a:extLst>
              </p:cNvPr>
              <p:cNvGrpSpPr/>
              <p:nvPr/>
            </p:nvGrpSpPr>
            <p:grpSpPr>
              <a:xfrm>
                <a:off x="4972506" y="2589893"/>
                <a:ext cx="933447" cy="933447"/>
                <a:chOff x="3193143" y="1833336"/>
                <a:chExt cx="2757714" cy="2757714"/>
              </a:xfrm>
            </p:grpSpPr>
            <p:sp>
              <p:nvSpPr>
                <p:cNvPr id="246" name="Freeform: Shape 245">
                  <a:extLst>
                    <a:ext uri="{FF2B5EF4-FFF2-40B4-BE49-F238E27FC236}">
                      <a16:creationId xmlns:a16="http://schemas.microsoft.com/office/drawing/2014/main" id="{51B53A6A-CBD5-45DB-8B96-633048B76E98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7" name="Freeform: Shape 246">
                  <a:extLst>
                    <a:ext uri="{FF2B5EF4-FFF2-40B4-BE49-F238E27FC236}">
                      <a16:creationId xmlns:a16="http://schemas.microsoft.com/office/drawing/2014/main" id="{1B4DADAD-507D-4C17-B75B-297DD08DB282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43" name="Group 242">
                <a:extLst>
                  <a:ext uri="{FF2B5EF4-FFF2-40B4-BE49-F238E27FC236}">
                    <a16:creationId xmlns:a16="http://schemas.microsoft.com/office/drawing/2014/main" id="{78EAC055-BA18-457C-936D-C35FA62B685C}"/>
                  </a:ext>
                </a:extLst>
              </p:cNvPr>
              <p:cNvGrpSpPr/>
              <p:nvPr/>
            </p:nvGrpSpPr>
            <p:grpSpPr>
              <a:xfrm>
                <a:off x="4194006" y="378736"/>
                <a:ext cx="2280867" cy="2280867"/>
                <a:chOff x="3193144" y="1833336"/>
                <a:chExt cx="2757714" cy="2757714"/>
              </a:xfrm>
            </p:grpSpPr>
            <p:sp>
              <p:nvSpPr>
                <p:cNvPr id="244" name="Freeform: Shape 243">
                  <a:extLst>
                    <a:ext uri="{FF2B5EF4-FFF2-40B4-BE49-F238E27FC236}">
                      <a16:creationId xmlns:a16="http://schemas.microsoft.com/office/drawing/2014/main" id="{87DEC495-3709-48F1-AC12-3DAFEA5125B8}"/>
                    </a:ext>
                  </a:extLst>
                </p:cNvPr>
                <p:cNvSpPr/>
                <p:nvPr/>
              </p:nvSpPr>
              <p:spPr>
                <a:xfrm>
                  <a:off x="4572001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5" name="Freeform: Shape 244">
                  <a:extLst>
                    <a:ext uri="{FF2B5EF4-FFF2-40B4-BE49-F238E27FC236}">
                      <a16:creationId xmlns:a16="http://schemas.microsoft.com/office/drawing/2014/main" id="{C32A7205-6EB9-4472-9A5A-086628555230}"/>
                    </a:ext>
                  </a:extLst>
                </p:cNvPr>
                <p:cNvSpPr/>
                <p:nvPr/>
              </p:nvSpPr>
              <p:spPr>
                <a:xfrm>
                  <a:off x="3193144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CA5146DE-D500-46AB-8F48-986978611BD9}"/>
              </a:ext>
            </a:extLst>
          </p:cNvPr>
          <p:cNvGrpSpPr/>
          <p:nvPr/>
        </p:nvGrpSpPr>
        <p:grpSpPr>
          <a:xfrm>
            <a:off x="4582968" y="4966249"/>
            <a:ext cx="651814" cy="557603"/>
            <a:chOff x="3976307" y="2940445"/>
            <a:chExt cx="1865693" cy="1596033"/>
          </a:xfrm>
        </p:grpSpPr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1E5C6F6B-6EBB-40AA-965A-ED472A412262}"/>
                </a:ext>
              </a:extLst>
            </p:cNvPr>
            <p:cNvSpPr/>
            <p:nvPr/>
          </p:nvSpPr>
          <p:spPr>
            <a:xfrm>
              <a:off x="3976853" y="4330103"/>
              <a:ext cx="1644541" cy="206375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2" name="Rectangle 381">
              <a:extLst>
                <a:ext uri="{FF2B5EF4-FFF2-40B4-BE49-F238E27FC236}">
                  <a16:creationId xmlns:a16="http://schemas.microsoft.com/office/drawing/2014/main" id="{71E02608-4C80-4CE2-B861-D00F64F01885}"/>
                </a:ext>
              </a:extLst>
            </p:cNvPr>
            <p:cNvSpPr/>
            <p:nvPr/>
          </p:nvSpPr>
          <p:spPr>
            <a:xfrm>
              <a:off x="5128339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3" name="Rectangle 382">
              <a:extLst>
                <a:ext uri="{FF2B5EF4-FFF2-40B4-BE49-F238E27FC236}">
                  <a16:creationId xmlns:a16="http://schemas.microsoft.com/office/drawing/2014/main" id="{BDBEA354-0633-4E8F-A757-C12FE5DD8151}"/>
                </a:ext>
              </a:extLst>
            </p:cNvPr>
            <p:cNvSpPr/>
            <p:nvPr/>
          </p:nvSpPr>
          <p:spPr>
            <a:xfrm>
              <a:off x="4341430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4" name="Parallelogram 383">
              <a:extLst>
                <a:ext uri="{FF2B5EF4-FFF2-40B4-BE49-F238E27FC236}">
                  <a16:creationId xmlns:a16="http://schemas.microsoft.com/office/drawing/2014/main" id="{2C6B9F66-4938-4573-A5C8-AC8C609B89C7}"/>
                </a:ext>
              </a:extLst>
            </p:cNvPr>
            <p:cNvSpPr/>
            <p:nvPr/>
          </p:nvSpPr>
          <p:spPr>
            <a:xfrm>
              <a:off x="3976307" y="2940445"/>
              <a:ext cx="1865693" cy="1110457"/>
            </a:xfrm>
            <a:prstGeom prst="parallelogram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5" name="Parallelogram 384">
              <a:extLst>
                <a:ext uri="{FF2B5EF4-FFF2-40B4-BE49-F238E27FC236}">
                  <a16:creationId xmlns:a16="http://schemas.microsoft.com/office/drawing/2014/main" id="{38B96D45-0528-42AF-B55F-DF7DBEF65836}"/>
                </a:ext>
              </a:extLst>
            </p:cNvPr>
            <p:cNvSpPr/>
            <p:nvPr/>
          </p:nvSpPr>
          <p:spPr>
            <a:xfrm>
              <a:off x="4210050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6" name="Parallelogram 385">
              <a:extLst>
                <a:ext uri="{FF2B5EF4-FFF2-40B4-BE49-F238E27FC236}">
                  <a16:creationId xmlns:a16="http://schemas.microsoft.com/office/drawing/2014/main" id="{D1C18DCC-8A55-4553-84C5-58FCB4CB112A}"/>
                </a:ext>
              </a:extLst>
            </p:cNvPr>
            <p:cNvSpPr/>
            <p:nvPr/>
          </p:nvSpPr>
          <p:spPr>
            <a:xfrm>
              <a:off x="4602766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7" name="Parallelogram 386">
              <a:extLst>
                <a:ext uri="{FF2B5EF4-FFF2-40B4-BE49-F238E27FC236}">
                  <a16:creationId xmlns:a16="http://schemas.microsoft.com/office/drawing/2014/main" id="{DCD997E0-66B0-4678-9A7C-8B289FB024E3}"/>
                </a:ext>
              </a:extLst>
            </p:cNvPr>
            <p:cNvSpPr/>
            <p:nvPr/>
          </p:nvSpPr>
          <p:spPr>
            <a:xfrm>
              <a:off x="4995482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8" name="Parallelogram 387">
              <a:extLst>
                <a:ext uri="{FF2B5EF4-FFF2-40B4-BE49-F238E27FC236}">
                  <a16:creationId xmlns:a16="http://schemas.microsoft.com/office/drawing/2014/main" id="{8E644E05-18C4-43EE-9A3A-D50679D1A462}"/>
                </a:ext>
              </a:extLst>
            </p:cNvPr>
            <p:cNvSpPr/>
            <p:nvPr/>
          </p:nvSpPr>
          <p:spPr>
            <a:xfrm>
              <a:off x="5388198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9" name="Parallelogram 388">
              <a:extLst>
                <a:ext uri="{FF2B5EF4-FFF2-40B4-BE49-F238E27FC236}">
                  <a16:creationId xmlns:a16="http://schemas.microsoft.com/office/drawing/2014/main" id="{1531AC89-BFEC-4764-AAD2-6C7F44419A17}"/>
                </a:ext>
              </a:extLst>
            </p:cNvPr>
            <p:cNvSpPr/>
            <p:nvPr/>
          </p:nvSpPr>
          <p:spPr>
            <a:xfrm>
              <a:off x="4119563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0" name="Parallelogram 389">
              <a:extLst>
                <a:ext uri="{FF2B5EF4-FFF2-40B4-BE49-F238E27FC236}">
                  <a16:creationId xmlns:a16="http://schemas.microsoft.com/office/drawing/2014/main" id="{7A70EDBD-E7D4-4CD8-8C84-1F54EE010DCE}"/>
                </a:ext>
              </a:extLst>
            </p:cNvPr>
            <p:cNvSpPr/>
            <p:nvPr/>
          </p:nvSpPr>
          <p:spPr>
            <a:xfrm>
              <a:off x="4512279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1" name="Parallelogram 390">
              <a:extLst>
                <a:ext uri="{FF2B5EF4-FFF2-40B4-BE49-F238E27FC236}">
                  <a16:creationId xmlns:a16="http://schemas.microsoft.com/office/drawing/2014/main" id="{AF9AAAD5-36DF-4E96-8B93-393F99704945}"/>
                </a:ext>
              </a:extLst>
            </p:cNvPr>
            <p:cNvSpPr/>
            <p:nvPr/>
          </p:nvSpPr>
          <p:spPr>
            <a:xfrm>
              <a:off x="4904995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2" name="Parallelogram 391">
              <a:extLst>
                <a:ext uri="{FF2B5EF4-FFF2-40B4-BE49-F238E27FC236}">
                  <a16:creationId xmlns:a16="http://schemas.microsoft.com/office/drawing/2014/main" id="{0B369971-7DF6-4E8D-8511-E51340160268}"/>
                </a:ext>
              </a:extLst>
            </p:cNvPr>
            <p:cNvSpPr/>
            <p:nvPr/>
          </p:nvSpPr>
          <p:spPr>
            <a:xfrm>
              <a:off x="5297711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3" name="Parallelogram 392">
              <a:extLst>
                <a:ext uri="{FF2B5EF4-FFF2-40B4-BE49-F238E27FC236}">
                  <a16:creationId xmlns:a16="http://schemas.microsoft.com/office/drawing/2014/main" id="{F28398B9-E587-4DB3-B124-EABDFBB359A3}"/>
                </a:ext>
              </a:extLst>
            </p:cNvPr>
            <p:cNvSpPr/>
            <p:nvPr/>
          </p:nvSpPr>
          <p:spPr>
            <a:xfrm>
              <a:off x="4033837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4" name="Parallelogram 393">
              <a:extLst>
                <a:ext uri="{FF2B5EF4-FFF2-40B4-BE49-F238E27FC236}">
                  <a16:creationId xmlns:a16="http://schemas.microsoft.com/office/drawing/2014/main" id="{F6D659C7-9E86-4C75-B455-A2A48AC4AA50}"/>
                </a:ext>
              </a:extLst>
            </p:cNvPr>
            <p:cNvSpPr/>
            <p:nvPr/>
          </p:nvSpPr>
          <p:spPr>
            <a:xfrm>
              <a:off x="4426553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5" name="Parallelogram 394">
              <a:extLst>
                <a:ext uri="{FF2B5EF4-FFF2-40B4-BE49-F238E27FC236}">
                  <a16:creationId xmlns:a16="http://schemas.microsoft.com/office/drawing/2014/main" id="{1C09D976-3536-4F0B-A21D-54EDE6741EF2}"/>
                </a:ext>
              </a:extLst>
            </p:cNvPr>
            <p:cNvSpPr/>
            <p:nvPr/>
          </p:nvSpPr>
          <p:spPr>
            <a:xfrm>
              <a:off x="4819269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6" name="Parallelogram 395">
              <a:extLst>
                <a:ext uri="{FF2B5EF4-FFF2-40B4-BE49-F238E27FC236}">
                  <a16:creationId xmlns:a16="http://schemas.microsoft.com/office/drawing/2014/main" id="{E2B8BEE1-4074-444F-8F91-7C36D26D6F41}"/>
                </a:ext>
              </a:extLst>
            </p:cNvPr>
            <p:cNvSpPr/>
            <p:nvPr/>
          </p:nvSpPr>
          <p:spPr>
            <a:xfrm>
              <a:off x="5211985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CF62E68C-28B9-4F9F-83BE-B23B1E045889}"/>
              </a:ext>
            </a:extLst>
          </p:cNvPr>
          <p:cNvGrpSpPr/>
          <p:nvPr/>
        </p:nvGrpSpPr>
        <p:grpSpPr>
          <a:xfrm>
            <a:off x="5288941" y="4966249"/>
            <a:ext cx="651814" cy="557603"/>
            <a:chOff x="3976307" y="2940445"/>
            <a:chExt cx="1865693" cy="1596033"/>
          </a:xfrm>
        </p:grpSpPr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43CE74A4-59A1-431D-AA33-A7C7C342479D}"/>
                </a:ext>
              </a:extLst>
            </p:cNvPr>
            <p:cNvSpPr/>
            <p:nvPr/>
          </p:nvSpPr>
          <p:spPr>
            <a:xfrm>
              <a:off x="3976853" y="4330103"/>
              <a:ext cx="1644541" cy="206375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9" name="Rectangle 398">
              <a:extLst>
                <a:ext uri="{FF2B5EF4-FFF2-40B4-BE49-F238E27FC236}">
                  <a16:creationId xmlns:a16="http://schemas.microsoft.com/office/drawing/2014/main" id="{855F04C2-5805-46D9-83C3-9A983C8D212B}"/>
                </a:ext>
              </a:extLst>
            </p:cNvPr>
            <p:cNvSpPr/>
            <p:nvPr/>
          </p:nvSpPr>
          <p:spPr>
            <a:xfrm>
              <a:off x="5128339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B864F8EB-F2D8-4D25-8018-4C27BC44271B}"/>
                </a:ext>
              </a:extLst>
            </p:cNvPr>
            <p:cNvSpPr/>
            <p:nvPr/>
          </p:nvSpPr>
          <p:spPr>
            <a:xfrm>
              <a:off x="4341430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1" name="Parallelogram 400">
              <a:extLst>
                <a:ext uri="{FF2B5EF4-FFF2-40B4-BE49-F238E27FC236}">
                  <a16:creationId xmlns:a16="http://schemas.microsoft.com/office/drawing/2014/main" id="{8DCE9DAD-6E9D-476C-B31A-893222AF5ACB}"/>
                </a:ext>
              </a:extLst>
            </p:cNvPr>
            <p:cNvSpPr/>
            <p:nvPr/>
          </p:nvSpPr>
          <p:spPr>
            <a:xfrm>
              <a:off x="3976307" y="2940445"/>
              <a:ext cx="1865693" cy="1110457"/>
            </a:xfrm>
            <a:prstGeom prst="parallelogram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2" name="Parallelogram 401">
              <a:extLst>
                <a:ext uri="{FF2B5EF4-FFF2-40B4-BE49-F238E27FC236}">
                  <a16:creationId xmlns:a16="http://schemas.microsoft.com/office/drawing/2014/main" id="{22EFD891-0AAA-4F30-B0D7-0C40A6191C29}"/>
                </a:ext>
              </a:extLst>
            </p:cNvPr>
            <p:cNvSpPr/>
            <p:nvPr/>
          </p:nvSpPr>
          <p:spPr>
            <a:xfrm>
              <a:off x="4210050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3" name="Parallelogram 402">
              <a:extLst>
                <a:ext uri="{FF2B5EF4-FFF2-40B4-BE49-F238E27FC236}">
                  <a16:creationId xmlns:a16="http://schemas.microsoft.com/office/drawing/2014/main" id="{9D082D0B-C0C4-44CC-B080-4379008FC7F7}"/>
                </a:ext>
              </a:extLst>
            </p:cNvPr>
            <p:cNvSpPr/>
            <p:nvPr/>
          </p:nvSpPr>
          <p:spPr>
            <a:xfrm>
              <a:off x="4602766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4" name="Parallelogram 403">
              <a:extLst>
                <a:ext uri="{FF2B5EF4-FFF2-40B4-BE49-F238E27FC236}">
                  <a16:creationId xmlns:a16="http://schemas.microsoft.com/office/drawing/2014/main" id="{F690F831-920A-4D76-86EF-995F70D3281B}"/>
                </a:ext>
              </a:extLst>
            </p:cNvPr>
            <p:cNvSpPr/>
            <p:nvPr/>
          </p:nvSpPr>
          <p:spPr>
            <a:xfrm>
              <a:off x="4995482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5" name="Parallelogram 404">
              <a:extLst>
                <a:ext uri="{FF2B5EF4-FFF2-40B4-BE49-F238E27FC236}">
                  <a16:creationId xmlns:a16="http://schemas.microsoft.com/office/drawing/2014/main" id="{73B93333-9D6A-473B-984B-F88E5DEA2674}"/>
                </a:ext>
              </a:extLst>
            </p:cNvPr>
            <p:cNvSpPr/>
            <p:nvPr/>
          </p:nvSpPr>
          <p:spPr>
            <a:xfrm>
              <a:off x="5388198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6" name="Parallelogram 405">
              <a:extLst>
                <a:ext uri="{FF2B5EF4-FFF2-40B4-BE49-F238E27FC236}">
                  <a16:creationId xmlns:a16="http://schemas.microsoft.com/office/drawing/2014/main" id="{AB5AF30F-7930-4BE3-B347-579E7BF45CAB}"/>
                </a:ext>
              </a:extLst>
            </p:cNvPr>
            <p:cNvSpPr/>
            <p:nvPr/>
          </p:nvSpPr>
          <p:spPr>
            <a:xfrm>
              <a:off x="4119563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7" name="Parallelogram 406">
              <a:extLst>
                <a:ext uri="{FF2B5EF4-FFF2-40B4-BE49-F238E27FC236}">
                  <a16:creationId xmlns:a16="http://schemas.microsoft.com/office/drawing/2014/main" id="{92DA9773-F239-4900-A78A-686627322770}"/>
                </a:ext>
              </a:extLst>
            </p:cNvPr>
            <p:cNvSpPr/>
            <p:nvPr/>
          </p:nvSpPr>
          <p:spPr>
            <a:xfrm>
              <a:off x="4512279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8" name="Parallelogram 407">
              <a:extLst>
                <a:ext uri="{FF2B5EF4-FFF2-40B4-BE49-F238E27FC236}">
                  <a16:creationId xmlns:a16="http://schemas.microsoft.com/office/drawing/2014/main" id="{FEB9EAD8-2CC7-4281-8B13-9E2145A455AE}"/>
                </a:ext>
              </a:extLst>
            </p:cNvPr>
            <p:cNvSpPr/>
            <p:nvPr/>
          </p:nvSpPr>
          <p:spPr>
            <a:xfrm>
              <a:off x="4904995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9" name="Parallelogram 408">
              <a:extLst>
                <a:ext uri="{FF2B5EF4-FFF2-40B4-BE49-F238E27FC236}">
                  <a16:creationId xmlns:a16="http://schemas.microsoft.com/office/drawing/2014/main" id="{26A1F4E1-F98E-4AE4-89DB-4E53F0742750}"/>
                </a:ext>
              </a:extLst>
            </p:cNvPr>
            <p:cNvSpPr/>
            <p:nvPr/>
          </p:nvSpPr>
          <p:spPr>
            <a:xfrm>
              <a:off x="5297711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0" name="Parallelogram 409">
              <a:extLst>
                <a:ext uri="{FF2B5EF4-FFF2-40B4-BE49-F238E27FC236}">
                  <a16:creationId xmlns:a16="http://schemas.microsoft.com/office/drawing/2014/main" id="{EABE74B2-5879-4DE2-B565-CDD30124A831}"/>
                </a:ext>
              </a:extLst>
            </p:cNvPr>
            <p:cNvSpPr/>
            <p:nvPr/>
          </p:nvSpPr>
          <p:spPr>
            <a:xfrm>
              <a:off x="4033837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1" name="Parallelogram 410">
              <a:extLst>
                <a:ext uri="{FF2B5EF4-FFF2-40B4-BE49-F238E27FC236}">
                  <a16:creationId xmlns:a16="http://schemas.microsoft.com/office/drawing/2014/main" id="{3F6FA6EE-FD07-4872-82DA-24C0E9BA2984}"/>
                </a:ext>
              </a:extLst>
            </p:cNvPr>
            <p:cNvSpPr/>
            <p:nvPr/>
          </p:nvSpPr>
          <p:spPr>
            <a:xfrm>
              <a:off x="4426553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2" name="Parallelogram 411">
              <a:extLst>
                <a:ext uri="{FF2B5EF4-FFF2-40B4-BE49-F238E27FC236}">
                  <a16:creationId xmlns:a16="http://schemas.microsoft.com/office/drawing/2014/main" id="{67A79E9A-69B7-4A95-A338-FFFECF929998}"/>
                </a:ext>
              </a:extLst>
            </p:cNvPr>
            <p:cNvSpPr/>
            <p:nvPr/>
          </p:nvSpPr>
          <p:spPr>
            <a:xfrm>
              <a:off x="4819269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3" name="Parallelogram 412">
              <a:extLst>
                <a:ext uri="{FF2B5EF4-FFF2-40B4-BE49-F238E27FC236}">
                  <a16:creationId xmlns:a16="http://schemas.microsoft.com/office/drawing/2014/main" id="{CDD31625-FCBE-407A-9772-4C6406B32BA5}"/>
                </a:ext>
              </a:extLst>
            </p:cNvPr>
            <p:cNvSpPr/>
            <p:nvPr/>
          </p:nvSpPr>
          <p:spPr>
            <a:xfrm>
              <a:off x="5211985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451E49C1-E2E1-4087-B9D7-B5EF2E8ACF88}"/>
              </a:ext>
            </a:extLst>
          </p:cNvPr>
          <p:cNvGrpSpPr/>
          <p:nvPr/>
        </p:nvGrpSpPr>
        <p:grpSpPr>
          <a:xfrm>
            <a:off x="5277424" y="3725251"/>
            <a:ext cx="1287158" cy="2395109"/>
            <a:chOff x="2854597" y="111992"/>
            <a:chExt cx="3438826" cy="6398874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0307DDF0-E655-4A1A-AD18-8C10F113B854}"/>
                </a:ext>
              </a:extLst>
            </p:cNvPr>
            <p:cNvSpPr/>
            <p:nvPr/>
          </p:nvSpPr>
          <p:spPr>
            <a:xfrm>
              <a:off x="3443457" y="6186824"/>
              <a:ext cx="2257086" cy="324042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12" name="Group 311">
              <a:extLst>
                <a:ext uri="{FF2B5EF4-FFF2-40B4-BE49-F238E27FC236}">
                  <a16:creationId xmlns:a16="http://schemas.microsoft.com/office/drawing/2014/main" id="{93B83F56-1B8D-424F-A2B0-9AEA9BDCC588}"/>
                </a:ext>
              </a:extLst>
            </p:cNvPr>
            <p:cNvGrpSpPr/>
            <p:nvPr/>
          </p:nvGrpSpPr>
          <p:grpSpPr>
            <a:xfrm>
              <a:off x="2854597" y="111992"/>
              <a:ext cx="3438826" cy="6236853"/>
              <a:chOff x="2854597" y="111992"/>
              <a:chExt cx="3438826" cy="6236853"/>
            </a:xfrm>
          </p:grpSpPr>
          <p:sp>
            <p:nvSpPr>
              <p:cNvPr id="313" name="Oval 312">
                <a:extLst>
                  <a:ext uri="{FF2B5EF4-FFF2-40B4-BE49-F238E27FC236}">
                    <a16:creationId xmlns:a16="http://schemas.microsoft.com/office/drawing/2014/main" id="{A22F1BF3-1273-4CFF-9E05-A5FE543C2E27}"/>
                  </a:ext>
                </a:extLst>
              </p:cNvPr>
              <p:cNvSpPr/>
              <p:nvPr/>
            </p:nvSpPr>
            <p:spPr>
              <a:xfrm rot="14026178" flipH="1">
                <a:off x="3674396" y="1644238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4" name="Oval 313">
                <a:extLst>
                  <a:ext uri="{FF2B5EF4-FFF2-40B4-BE49-F238E27FC236}">
                    <a16:creationId xmlns:a16="http://schemas.microsoft.com/office/drawing/2014/main" id="{C1CAAB96-4115-455C-8D24-65B9D027E1B0}"/>
                  </a:ext>
                </a:extLst>
              </p:cNvPr>
              <p:cNvSpPr/>
              <p:nvPr/>
            </p:nvSpPr>
            <p:spPr>
              <a:xfrm rot="7573822">
                <a:off x="5219769" y="1626843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5" name="Oval 314">
                <a:extLst>
                  <a:ext uri="{FF2B5EF4-FFF2-40B4-BE49-F238E27FC236}">
                    <a16:creationId xmlns:a16="http://schemas.microsoft.com/office/drawing/2014/main" id="{81CAF783-7100-4F59-90CD-B6341CFDAD11}"/>
                  </a:ext>
                </a:extLst>
              </p:cNvPr>
              <p:cNvSpPr/>
              <p:nvPr/>
            </p:nvSpPr>
            <p:spPr>
              <a:xfrm>
                <a:off x="4445071" y="111992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6" name="Trapezoid 315">
                <a:extLst>
                  <a:ext uri="{FF2B5EF4-FFF2-40B4-BE49-F238E27FC236}">
                    <a16:creationId xmlns:a16="http://schemas.microsoft.com/office/drawing/2014/main" id="{20DF28D0-2195-41A3-91F9-0A54940546F9}"/>
                  </a:ext>
                </a:extLst>
              </p:cNvPr>
              <p:cNvSpPr/>
              <p:nvPr/>
            </p:nvSpPr>
            <p:spPr>
              <a:xfrm>
                <a:off x="4371975" y="2234045"/>
                <a:ext cx="400050" cy="4114800"/>
              </a:xfrm>
              <a:prstGeom prst="trapezoid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7" name="Oval 316">
                <a:extLst>
                  <a:ext uri="{FF2B5EF4-FFF2-40B4-BE49-F238E27FC236}">
                    <a16:creationId xmlns:a16="http://schemas.microsoft.com/office/drawing/2014/main" id="{60D1C9BF-9DCA-4C6C-9A97-79FA45DA780B}"/>
                  </a:ext>
                </a:extLst>
              </p:cNvPr>
              <p:cNvSpPr/>
              <p:nvPr/>
            </p:nvSpPr>
            <p:spPr>
              <a:xfrm>
                <a:off x="4281343" y="1776845"/>
                <a:ext cx="581314" cy="5813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8" name="Oval 317">
                <a:extLst>
                  <a:ext uri="{FF2B5EF4-FFF2-40B4-BE49-F238E27FC236}">
                    <a16:creationId xmlns:a16="http://schemas.microsoft.com/office/drawing/2014/main" id="{678F16C5-4F98-4B52-983A-E1189809358E}"/>
                  </a:ext>
                </a:extLst>
              </p:cNvPr>
              <p:cNvSpPr/>
              <p:nvPr/>
            </p:nvSpPr>
            <p:spPr>
              <a:xfrm>
                <a:off x="4416136" y="1911638"/>
                <a:ext cx="311727" cy="311727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63" name="Group 362">
            <a:extLst>
              <a:ext uri="{FF2B5EF4-FFF2-40B4-BE49-F238E27FC236}">
                <a16:creationId xmlns:a16="http://schemas.microsoft.com/office/drawing/2014/main" id="{7C63A4EE-FDED-4248-8AE4-45CEC4FA41E9}"/>
              </a:ext>
            </a:extLst>
          </p:cNvPr>
          <p:cNvGrpSpPr/>
          <p:nvPr/>
        </p:nvGrpSpPr>
        <p:grpSpPr>
          <a:xfrm>
            <a:off x="4592684" y="5452997"/>
            <a:ext cx="777889" cy="665456"/>
            <a:chOff x="3976307" y="2940445"/>
            <a:chExt cx="1865693" cy="1596033"/>
          </a:xfrm>
        </p:grpSpPr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B84E5835-30D9-460D-AEF3-EB5E4D39A77E}"/>
                </a:ext>
              </a:extLst>
            </p:cNvPr>
            <p:cNvSpPr/>
            <p:nvPr/>
          </p:nvSpPr>
          <p:spPr>
            <a:xfrm>
              <a:off x="3976853" y="4330103"/>
              <a:ext cx="1644541" cy="206375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5" name="Rectangle 364">
              <a:extLst>
                <a:ext uri="{FF2B5EF4-FFF2-40B4-BE49-F238E27FC236}">
                  <a16:creationId xmlns:a16="http://schemas.microsoft.com/office/drawing/2014/main" id="{5F6E5FA3-2DA3-4DDF-AABD-640543B72EAE}"/>
                </a:ext>
              </a:extLst>
            </p:cNvPr>
            <p:cNvSpPr/>
            <p:nvPr/>
          </p:nvSpPr>
          <p:spPr>
            <a:xfrm>
              <a:off x="5128339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6" name="Rectangle 365">
              <a:extLst>
                <a:ext uri="{FF2B5EF4-FFF2-40B4-BE49-F238E27FC236}">
                  <a16:creationId xmlns:a16="http://schemas.microsoft.com/office/drawing/2014/main" id="{15EA8783-FBC7-43B5-A3C0-4DCBB4B0F89B}"/>
                </a:ext>
              </a:extLst>
            </p:cNvPr>
            <p:cNvSpPr/>
            <p:nvPr/>
          </p:nvSpPr>
          <p:spPr>
            <a:xfrm>
              <a:off x="4341430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7" name="Parallelogram 366">
              <a:extLst>
                <a:ext uri="{FF2B5EF4-FFF2-40B4-BE49-F238E27FC236}">
                  <a16:creationId xmlns:a16="http://schemas.microsoft.com/office/drawing/2014/main" id="{E76E1C3E-BFB9-4D6E-A441-AA119DBBF9F1}"/>
                </a:ext>
              </a:extLst>
            </p:cNvPr>
            <p:cNvSpPr/>
            <p:nvPr/>
          </p:nvSpPr>
          <p:spPr>
            <a:xfrm>
              <a:off x="3976307" y="2940445"/>
              <a:ext cx="1865693" cy="1110457"/>
            </a:xfrm>
            <a:prstGeom prst="parallelogram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8" name="Parallelogram 367">
              <a:extLst>
                <a:ext uri="{FF2B5EF4-FFF2-40B4-BE49-F238E27FC236}">
                  <a16:creationId xmlns:a16="http://schemas.microsoft.com/office/drawing/2014/main" id="{68E00AD8-72EF-47FC-8B7E-C916E0E197B5}"/>
                </a:ext>
              </a:extLst>
            </p:cNvPr>
            <p:cNvSpPr/>
            <p:nvPr/>
          </p:nvSpPr>
          <p:spPr>
            <a:xfrm>
              <a:off x="4210050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9" name="Parallelogram 368">
              <a:extLst>
                <a:ext uri="{FF2B5EF4-FFF2-40B4-BE49-F238E27FC236}">
                  <a16:creationId xmlns:a16="http://schemas.microsoft.com/office/drawing/2014/main" id="{ECD5364F-7C23-4073-962A-24504885D8C3}"/>
                </a:ext>
              </a:extLst>
            </p:cNvPr>
            <p:cNvSpPr/>
            <p:nvPr/>
          </p:nvSpPr>
          <p:spPr>
            <a:xfrm>
              <a:off x="4602766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0" name="Parallelogram 369">
              <a:extLst>
                <a:ext uri="{FF2B5EF4-FFF2-40B4-BE49-F238E27FC236}">
                  <a16:creationId xmlns:a16="http://schemas.microsoft.com/office/drawing/2014/main" id="{B6E611A9-4432-49A2-9C6B-970C65E1E097}"/>
                </a:ext>
              </a:extLst>
            </p:cNvPr>
            <p:cNvSpPr/>
            <p:nvPr/>
          </p:nvSpPr>
          <p:spPr>
            <a:xfrm>
              <a:off x="4995482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1" name="Parallelogram 370">
              <a:extLst>
                <a:ext uri="{FF2B5EF4-FFF2-40B4-BE49-F238E27FC236}">
                  <a16:creationId xmlns:a16="http://schemas.microsoft.com/office/drawing/2014/main" id="{FB3E5F97-738E-4B9D-A0C7-814433B067E5}"/>
                </a:ext>
              </a:extLst>
            </p:cNvPr>
            <p:cNvSpPr/>
            <p:nvPr/>
          </p:nvSpPr>
          <p:spPr>
            <a:xfrm>
              <a:off x="5388198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2" name="Parallelogram 371">
              <a:extLst>
                <a:ext uri="{FF2B5EF4-FFF2-40B4-BE49-F238E27FC236}">
                  <a16:creationId xmlns:a16="http://schemas.microsoft.com/office/drawing/2014/main" id="{59E479CC-57B9-4156-93A5-F928307C43F4}"/>
                </a:ext>
              </a:extLst>
            </p:cNvPr>
            <p:cNvSpPr/>
            <p:nvPr/>
          </p:nvSpPr>
          <p:spPr>
            <a:xfrm>
              <a:off x="4119563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3" name="Parallelogram 372">
              <a:extLst>
                <a:ext uri="{FF2B5EF4-FFF2-40B4-BE49-F238E27FC236}">
                  <a16:creationId xmlns:a16="http://schemas.microsoft.com/office/drawing/2014/main" id="{4BB237E9-C85C-43EC-B519-52B233158839}"/>
                </a:ext>
              </a:extLst>
            </p:cNvPr>
            <p:cNvSpPr/>
            <p:nvPr/>
          </p:nvSpPr>
          <p:spPr>
            <a:xfrm>
              <a:off x="4512279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4" name="Parallelogram 373">
              <a:extLst>
                <a:ext uri="{FF2B5EF4-FFF2-40B4-BE49-F238E27FC236}">
                  <a16:creationId xmlns:a16="http://schemas.microsoft.com/office/drawing/2014/main" id="{E4288BDA-5B0C-40BA-ABFF-068385838501}"/>
                </a:ext>
              </a:extLst>
            </p:cNvPr>
            <p:cNvSpPr/>
            <p:nvPr/>
          </p:nvSpPr>
          <p:spPr>
            <a:xfrm>
              <a:off x="4904995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5" name="Parallelogram 374">
              <a:extLst>
                <a:ext uri="{FF2B5EF4-FFF2-40B4-BE49-F238E27FC236}">
                  <a16:creationId xmlns:a16="http://schemas.microsoft.com/office/drawing/2014/main" id="{33A55FD1-BAD1-438E-B968-829644731740}"/>
                </a:ext>
              </a:extLst>
            </p:cNvPr>
            <p:cNvSpPr/>
            <p:nvPr/>
          </p:nvSpPr>
          <p:spPr>
            <a:xfrm>
              <a:off x="5297711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6" name="Parallelogram 375">
              <a:extLst>
                <a:ext uri="{FF2B5EF4-FFF2-40B4-BE49-F238E27FC236}">
                  <a16:creationId xmlns:a16="http://schemas.microsoft.com/office/drawing/2014/main" id="{612B7DAB-87A1-464E-ACFC-7C35B81AF3A4}"/>
                </a:ext>
              </a:extLst>
            </p:cNvPr>
            <p:cNvSpPr/>
            <p:nvPr/>
          </p:nvSpPr>
          <p:spPr>
            <a:xfrm>
              <a:off x="4033837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7" name="Parallelogram 376">
              <a:extLst>
                <a:ext uri="{FF2B5EF4-FFF2-40B4-BE49-F238E27FC236}">
                  <a16:creationId xmlns:a16="http://schemas.microsoft.com/office/drawing/2014/main" id="{D04C9E15-4A5D-48B4-A870-7906E0B43715}"/>
                </a:ext>
              </a:extLst>
            </p:cNvPr>
            <p:cNvSpPr/>
            <p:nvPr/>
          </p:nvSpPr>
          <p:spPr>
            <a:xfrm>
              <a:off x="4426553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8" name="Parallelogram 377">
              <a:extLst>
                <a:ext uri="{FF2B5EF4-FFF2-40B4-BE49-F238E27FC236}">
                  <a16:creationId xmlns:a16="http://schemas.microsoft.com/office/drawing/2014/main" id="{A220B2AC-E9F6-4FDB-A869-835828533613}"/>
                </a:ext>
              </a:extLst>
            </p:cNvPr>
            <p:cNvSpPr/>
            <p:nvPr/>
          </p:nvSpPr>
          <p:spPr>
            <a:xfrm>
              <a:off x="4819269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9" name="Parallelogram 378">
              <a:extLst>
                <a:ext uri="{FF2B5EF4-FFF2-40B4-BE49-F238E27FC236}">
                  <a16:creationId xmlns:a16="http://schemas.microsoft.com/office/drawing/2014/main" id="{CC4F7666-1390-4D09-B8EA-C405EFA9766C}"/>
                </a:ext>
              </a:extLst>
            </p:cNvPr>
            <p:cNvSpPr/>
            <p:nvPr/>
          </p:nvSpPr>
          <p:spPr>
            <a:xfrm>
              <a:off x="5211985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B8A7BB65-FF72-46DE-BB15-E74D105E9A00}"/>
              </a:ext>
            </a:extLst>
          </p:cNvPr>
          <p:cNvGrpSpPr/>
          <p:nvPr/>
        </p:nvGrpSpPr>
        <p:grpSpPr>
          <a:xfrm>
            <a:off x="3741079" y="5452997"/>
            <a:ext cx="777889" cy="665456"/>
            <a:chOff x="3976307" y="2940445"/>
            <a:chExt cx="1865693" cy="1596033"/>
          </a:xfrm>
        </p:grpSpPr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CF7F2B6E-7D08-459E-926B-3F08FA98A728}"/>
                </a:ext>
              </a:extLst>
            </p:cNvPr>
            <p:cNvSpPr/>
            <p:nvPr/>
          </p:nvSpPr>
          <p:spPr>
            <a:xfrm>
              <a:off x="3976853" y="4330103"/>
              <a:ext cx="1644541" cy="206375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8" name="Rectangle 347">
              <a:extLst>
                <a:ext uri="{FF2B5EF4-FFF2-40B4-BE49-F238E27FC236}">
                  <a16:creationId xmlns:a16="http://schemas.microsoft.com/office/drawing/2014/main" id="{E8B3EAA2-6627-4C6F-87CF-93E815AF881B}"/>
                </a:ext>
              </a:extLst>
            </p:cNvPr>
            <p:cNvSpPr/>
            <p:nvPr/>
          </p:nvSpPr>
          <p:spPr>
            <a:xfrm>
              <a:off x="5128339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9" name="Rectangle 348">
              <a:extLst>
                <a:ext uri="{FF2B5EF4-FFF2-40B4-BE49-F238E27FC236}">
                  <a16:creationId xmlns:a16="http://schemas.microsoft.com/office/drawing/2014/main" id="{2A4A6945-B07D-45D9-9F84-D3218E5B8BCD}"/>
                </a:ext>
              </a:extLst>
            </p:cNvPr>
            <p:cNvSpPr/>
            <p:nvPr/>
          </p:nvSpPr>
          <p:spPr>
            <a:xfrm>
              <a:off x="4341430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0" name="Parallelogram 349">
              <a:extLst>
                <a:ext uri="{FF2B5EF4-FFF2-40B4-BE49-F238E27FC236}">
                  <a16:creationId xmlns:a16="http://schemas.microsoft.com/office/drawing/2014/main" id="{645A8BE6-BC6F-4240-AB9C-FD482B546FC9}"/>
                </a:ext>
              </a:extLst>
            </p:cNvPr>
            <p:cNvSpPr/>
            <p:nvPr/>
          </p:nvSpPr>
          <p:spPr>
            <a:xfrm>
              <a:off x="3976307" y="2940445"/>
              <a:ext cx="1865693" cy="1110457"/>
            </a:xfrm>
            <a:prstGeom prst="parallelogram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1" name="Parallelogram 350">
              <a:extLst>
                <a:ext uri="{FF2B5EF4-FFF2-40B4-BE49-F238E27FC236}">
                  <a16:creationId xmlns:a16="http://schemas.microsoft.com/office/drawing/2014/main" id="{E5E6BAB0-DA22-44F7-BF5D-B12175E6021B}"/>
                </a:ext>
              </a:extLst>
            </p:cNvPr>
            <p:cNvSpPr/>
            <p:nvPr/>
          </p:nvSpPr>
          <p:spPr>
            <a:xfrm>
              <a:off x="4210050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2" name="Parallelogram 351">
              <a:extLst>
                <a:ext uri="{FF2B5EF4-FFF2-40B4-BE49-F238E27FC236}">
                  <a16:creationId xmlns:a16="http://schemas.microsoft.com/office/drawing/2014/main" id="{F1D02787-0D79-44B1-94F3-A7FF11198100}"/>
                </a:ext>
              </a:extLst>
            </p:cNvPr>
            <p:cNvSpPr/>
            <p:nvPr/>
          </p:nvSpPr>
          <p:spPr>
            <a:xfrm>
              <a:off x="4602766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3" name="Parallelogram 352">
              <a:extLst>
                <a:ext uri="{FF2B5EF4-FFF2-40B4-BE49-F238E27FC236}">
                  <a16:creationId xmlns:a16="http://schemas.microsoft.com/office/drawing/2014/main" id="{395B048D-FFFB-45A9-8FF6-ADA1C0F212F1}"/>
                </a:ext>
              </a:extLst>
            </p:cNvPr>
            <p:cNvSpPr/>
            <p:nvPr/>
          </p:nvSpPr>
          <p:spPr>
            <a:xfrm>
              <a:off x="4995482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4" name="Parallelogram 353">
              <a:extLst>
                <a:ext uri="{FF2B5EF4-FFF2-40B4-BE49-F238E27FC236}">
                  <a16:creationId xmlns:a16="http://schemas.microsoft.com/office/drawing/2014/main" id="{10B9A45C-BA27-44DC-891B-D8363EDFA5DA}"/>
                </a:ext>
              </a:extLst>
            </p:cNvPr>
            <p:cNvSpPr/>
            <p:nvPr/>
          </p:nvSpPr>
          <p:spPr>
            <a:xfrm>
              <a:off x="5388198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5" name="Parallelogram 354">
              <a:extLst>
                <a:ext uri="{FF2B5EF4-FFF2-40B4-BE49-F238E27FC236}">
                  <a16:creationId xmlns:a16="http://schemas.microsoft.com/office/drawing/2014/main" id="{0ABE3EC3-C678-4298-9A8E-36E8F5CBA0ED}"/>
                </a:ext>
              </a:extLst>
            </p:cNvPr>
            <p:cNvSpPr/>
            <p:nvPr/>
          </p:nvSpPr>
          <p:spPr>
            <a:xfrm>
              <a:off x="4119563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6" name="Parallelogram 355">
              <a:extLst>
                <a:ext uri="{FF2B5EF4-FFF2-40B4-BE49-F238E27FC236}">
                  <a16:creationId xmlns:a16="http://schemas.microsoft.com/office/drawing/2014/main" id="{A0BE5FF9-70DD-48B2-A8ED-C788D7A59B8E}"/>
                </a:ext>
              </a:extLst>
            </p:cNvPr>
            <p:cNvSpPr/>
            <p:nvPr/>
          </p:nvSpPr>
          <p:spPr>
            <a:xfrm>
              <a:off x="4512279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7" name="Parallelogram 356">
              <a:extLst>
                <a:ext uri="{FF2B5EF4-FFF2-40B4-BE49-F238E27FC236}">
                  <a16:creationId xmlns:a16="http://schemas.microsoft.com/office/drawing/2014/main" id="{A4E49AC7-E3DE-4205-B077-2501730E193F}"/>
                </a:ext>
              </a:extLst>
            </p:cNvPr>
            <p:cNvSpPr/>
            <p:nvPr/>
          </p:nvSpPr>
          <p:spPr>
            <a:xfrm>
              <a:off x="4904995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8" name="Parallelogram 357">
              <a:extLst>
                <a:ext uri="{FF2B5EF4-FFF2-40B4-BE49-F238E27FC236}">
                  <a16:creationId xmlns:a16="http://schemas.microsoft.com/office/drawing/2014/main" id="{843532AA-7BE3-420D-918D-CF0504B22E42}"/>
                </a:ext>
              </a:extLst>
            </p:cNvPr>
            <p:cNvSpPr/>
            <p:nvPr/>
          </p:nvSpPr>
          <p:spPr>
            <a:xfrm>
              <a:off x="5297711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9" name="Parallelogram 358">
              <a:extLst>
                <a:ext uri="{FF2B5EF4-FFF2-40B4-BE49-F238E27FC236}">
                  <a16:creationId xmlns:a16="http://schemas.microsoft.com/office/drawing/2014/main" id="{4A4F4009-B0AD-4E01-901F-4D316B0BDCF8}"/>
                </a:ext>
              </a:extLst>
            </p:cNvPr>
            <p:cNvSpPr/>
            <p:nvPr/>
          </p:nvSpPr>
          <p:spPr>
            <a:xfrm>
              <a:off x="4033837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0" name="Parallelogram 359">
              <a:extLst>
                <a:ext uri="{FF2B5EF4-FFF2-40B4-BE49-F238E27FC236}">
                  <a16:creationId xmlns:a16="http://schemas.microsoft.com/office/drawing/2014/main" id="{5AC6C510-9D9E-4832-94CB-0E152FC8B89D}"/>
                </a:ext>
              </a:extLst>
            </p:cNvPr>
            <p:cNvSpPr/>
            <p:nvPr/>
          </p:nvSpPr>
          <p:spPr>
            <a:xfrm>
              <a:off x="4426553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1" name="Parallelogram 360">
              <a:extLst>
                <a:ext uri="{FF2B5EF4-FFF2-40B4-BE49-F238E27FC236}">
                  <a16:creationId xmlns:a16="http://schemas.microsoft.com/office/drawing/2014/main" id="{AC2D5767-4EF9-4265-BC04-7A829282F23F}"/>
                </a:ext>
              </a:extLst>
            </p:cNvPr>
            <p:cNvSpPr/>
            <p:nvPr/>
          </p:nvSpPr>
          <p:spPr>
            <a:xfrm>
              <a:off x="4819269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2" name="Parallelogram 361">
              <a:extLst>
                <a:ext uri="{FF2B5EF4-FFF2-40B4-BE49-F238E27FC236}">
                  <a16:creationId xmlns:a16="http://schemas.microsoft.com/office/drawing/2014/main" id="{127DB9FE-B92F-4AD7-B2B2-ACA3B27D7D83}"/>
                </a:ext>
              </a:extLst>
            </p:cNvPr>
            <p:cNvSpPr/>
            <p:nvPr/>
          </p:nvSpPr>
          <p:spPr>
            <a:xfrm>
              <a:off x="5211985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E150844-907C-4750-8CC6-9FEE6269DFF4}"/>
              </a:ext>
            </a:extLst>
          </p:cNvPr>
          <p:cNvSpPr txBox="1"/>
          <p:nvPr/>
        </p:nvSpPr>
        <p:spPr>
          <a:xfrm>
            <a:off x="1989099" y="1341402"/>
            <a:ext cx="5107310" cy="1077218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3200" b="1">
                <a:solidFill>
                  <a:schemeClr val="bg1"/>
                </a:solidFill>
                <a:latin typeface="Product Sans" panose="020B0403030502040203" pitchFamily="34" charset="0"/>
              </a:rPr>
              <a:t>CLEAN ENERGY LANDSCAPE</a:t>
            </a:r>
          </a:p>
        </p:txBody>
      </p:sp>
      <p:sp>
        <p:nvSpPr>
          <p:cNvPr id="290" name="TextBox 289">
            <a:extLst>
              <a:ext uri="{FF2B5EF4-FFF2-40B4-BE49-F238E27FC236}">
                <a16:creationId xmlns:a16="http://schemas.microsoft.com/office/drawing/2014/main" id="{50356ACF-9060-458D-97CC-9489131C1643}"/>
              </a:ext>
            </a:extLst>
          </p:cNvPr>
          <p:cNvSpPr txBox="1"/>
          <p:nvPr/>
        </p:nvSpPr>
        <p:spPr>
          <a:xfrm>
            <a:off x="1987224" y="1056232"/>
            <a:ext cx="5107310" cy="338554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chemeClr val="bg1">
                    <a:alpha val="70000"/>
                  </a:schemeClr>
                </a:solidFill>
                <a:latin typeface="Product Sans" panose="020B0403030502040203" pitchFamily="34" charset="0"/>
              </a:rPr>
              <a:t>V E G A S L I D E  </a:t>
            </a:r>
            <a:r>
              <a:rPr lang="en-US" sz="1600">
                <a:solidFill>
                  <a:schemeClr val="bg1">
                    <a:alpha val="70000"/>
                  </a:schemeClr>
                </a:solidFill>
                <a:latin typeface="Product Sans" panose="020B0403030502040203" pitchFamily="34" charset="0"/>
              </a:rPr>
              <a:t>P R E S E N T </a:t>
            </a:r>
          </a:p>
        </p:txBody>
      </p:sp>
      <p:sp>
        <p:nvSpPr>
          <p:cNvPr id="291" name="TextBox 290">
            <a:extLst>
              <a:ext uri="{FF2B5EF4-FFF2-40B4-BE49-F238E27FC236}">
                <a16:creationId xmlns:a16="http://schemas.microsoft.com/office/drawing/2014/main" id="{206AB64F-4AF5-41C6-B951-5EB77D11B4F7}"/>
              </a:ext>
            </a:extLst>
          </p:cNvPr>
          <p:cNvSpPr txBox="1"/>
          <p:nvPr/>
        </p:nvSpPr>
        <p:spPr>
          <a:xfrm>
            <a:off x="1998032" y="2369826"/>
            <a:ext cx="5107310" cy="261610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LONG-TERM SOLUTION FOR HUMANITY</a:t>
            </a:r>
          </a:p>
        </p:txBody>
      </p:sp>
    </p:spTree>
    <p:extLst>
      <p:ext uri="{BB962C8B-B14F-4D97-AF65-F5344CB8AC3E}">
        <p14:creationId xmlns:p14="http://schemas.microsoft.com/office/powerpoint/2010/main" val="38268885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7B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Group 44">
            <a:extLst>
              <a:ext uri="{FF2B5EF4-FFF2-40B4-BE49-F238E27FC236}">
                <a16:creationId xmlns:a16="http://schemas.microsoft.com/office/drawing/2014/main" id="{EEA34EAB-C2FC-4E17-9B6E-424A44A4130A}"/>
              </a:ext>
            </a:extLst>
          </p:cNvPr>
          <p:cNvGrpSpPr/>
          <p:nvPr/>
        </p:nvGrpSpPr>
        <p:grpSpPr>
          <a:xfrm>
            <a:off x="2254293" y="2618864"/>
            <a:ext cx="603439" cy="1019737"/>
            <a:chOff x="2820309" y="378736"/>
            <a:chExt cx="3654564" cy="6175768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8D3A06BF-97C5-47EE-B667-E101C564DAF6}"/>
                </a:ext>
              </a:extLst>
            </p:cNvPr>
            <p:cNvSpPr/>
            <p:nvPr/>
          </p:nvSpPr>
          <p:spPr>
            <a:xfrm>
              <a:off x="3245645" y="2718154"/>
              <a:ext cx="860537" cy="860537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C785FDB5-E584-4D64-882E-BC28AA694B2E}"/>
                </a:ext>
              </a:extLst>
            </p:cNvPr>
            <p:cNvSpPr/>
            <p:nvPr/>
          </p:nvSpPr>
          <p:spPr>
            <a:xfrm>
              <a:off x="5340159" y="1982674"/>
              <a:ext cx="958455" cy="95845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0298514-C197-48F8-9B2A-AA4FB42CCCFB}"/>
                </a:ext>
              </a:extLst>
            </p:cNvPr>
            <p:cNvSpPr/>
            <p:nvPr/>
          </p:nvSpPr>
          <p:spPr>
            <a:xfrm>
              <a:off x="3007972" y="6213531"/>
              <a:ext cx="2917599" cy="340973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7860444-EE87-4D90-A593-544747004081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005282"/>
              <a:chOff x="2820309" y="378736"/>
              <a:chExt cx="3654564" cy="6005282"/>
            </a:xfrm>
          </p:grpSpPr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96DA6BFA-A9E5-4734-8EE2-DFFEDB5EC250}"/>
                  </a:ext>
                </a:extLst>
              </p:cNvPr>
              <p:cNvSpPr/>
              <p:nvPr/>
            </p:nvSpPr>
            <p:spPr>
              <a:xfrm>
                <a:off x="3147673" y="871875"/>
                <a:ext cx="2892653" cy="289265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983B5777-2C4A-41F6-9FB9-6970BB969C51}"/>
                  </a:ext>
                </a:extLst>
              </p:cNvPr>
              <p:cNvSpPr/>
              <p:nvPr/>
            </p:nvSpPr>
            <p:spPr>
              <a:xfrm>
                <a:off x="3922657" y="2642142"/>
                <a:ext cx="745216" cy="74521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B8962574-2D80-4BF8-AB71-43DC9C1D4225}"/>
                  </a:ext>
                </a:extLst>
              </p:cNvPr>
              <p:cNvGrpSpPr/>
              <p:nvPr/>
            </p:nvGrpSpPr>
            <p:grpSpPr>
              <a:xfrm>
                <a:off x="3439887" y="473982"/>
                <a:ext cx="2026556" cy="5910036"/>
                <a:chOff x="7271658" y="947964"/>
                <a:chExt cx="2026556" cy="5910036"/>
              </a:xfrm>
            </p:grpSpPr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57CF8E68-BB6F-44E1-8AA6-1D0033A47A67}"/>
                    </a:ext>
                  </a:extLst>
                </p:cNvPr>
                <p:cNvGrpSpPr/>
                <p:nvPr/>
              </p:nvGrpSpPr>
              <p:grpSpPr>
                <a:xfrm>
                  <a:off x="8069943" y="2324100"/>
                  <a:ext cx="457200" cy="4533900"/>
                  <a:chOff x="8069943" y="2324100"/>
                  <a:chExt cx="457200" cy="4533900"/>
                </a:xfrm>
              </p:grpSpPr>
              <p:sp>
                <p:nvSpPr>
                  <p:cNvPr id="70" name="Freeform: Shape 69">
                    <a:extLst>
                      <a:ext uri="{FF2B5EF4-FFF2-40B4-BE49-F238E27FC236}">
                        <a16:creationId xmlns:a16="http://schemas.microsoft.com/office/drawing/2014/main" id="{E594031E-E834-4C93-9245-530DFE3EC18E}"/>
                      </a:ext>
                    </a:extLst>
                  </p:cNvPr>
                  <p:cNvSpPr/>
                  <p:nvPr/>
                </p:nvSpPr>
                <p:spPr>
                  <a:xfrm>
                    <a:off x="8298543" y="2324100"/>
                    <a:ext cx="228600" cy="4533900"/>
                  </a:xfrm>
                  <a:custGeom>
                    <a:avLst/>
                    <a:gdLst>
                      <a:gd name="connsiteX0" fmla="*/ 0 w 228600"/>
                      <a:gd name="connsiteY0" fmla="*/ 0 h 4533900"/>
                      <a:gd name="connsiteX1" fmla="*/ 1143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0" y="0"/>
                        </a:moveTo>
                        <a:lnTo>
                          <a:pt x="1143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1" name="Freeform: Shape 70">
                    <a:extLst>
                      <a:ext uri="{FF2B5EF4-FFF2-40B4-BE49-F238E27FC236}">
                        <a16:creationId xmlns:a16="http://schemas.microsoft.com/office/drawing/2014/main" id="{DC9747E8-9A44-4BC9-9FAA-E65276001EB8}"/>
                      </a:ext>
                    </a:extLst>
                  </p:cNvPr>
                  <p:cNvSpPr/>
                  <p:nvPr/>
                </p:nvSpPr>
                <p:spPr>
                  <a:xfrm>
                    <a:off x="8069943" y="2324100"/>
                    <a:ext cx="228600" cy="4533900"/>
                  </a:xfrm>
                  <a:custGeom>
                    <a:avLst/>
                    <a:gdLst>
                      <a:gd name="connsiteX0" fmla="*/ 114300 w 228600"/>
                      <a:gd name="connsiteY0" fmla="*/ 0 h 4533900"/>
                      <a:gd name="connsiteX1" fmla="*/ 2286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11430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114300" y="0"/>
                        </a:moveTo>
                        <a:lnTo>
                          <a:pt x="2286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114300" y="0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66" name="Block Arc 65">
                  <a:extLst>
                    <a:ext uri="{FF2B5EF4-FFF2-40B4-BE49-F238E27FC236}">
                      <a16:creationId xmlns:a16="http://schemas.microsoft.com/office/drawing/2014/main" id="{9E8904FA-4A3E-4CEB-A373-7FA7C9193245}"/>
                    </a:ext>
                  </a:extLst>
                </p:cNvPr>
                <p:cNvSpPr/>
                <p:nvPr/>
              </p:nvSpPr>
              <p:spPr>
                <a:xfrm rot="16200000">
                  <a:off x="7271658" y="2061029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7" name="Block Arc 66">
                  <a:extLst>
                    <a:ext uri="{FF2B5EF4-FFF2-40B4-BE49-F238E27FC236}">
                      <a16:creationId xmlns:a16="http://schemas.microsoft.com/office/drawing/2014/main" id="{30D2406B-CD4A-4EC6-A841-8FAD6CD1792E}"/>
                    </a:ext>
                  </a:extLst>
                </p:cNvPr>
                <p:cNvSpPr/>
                <p:nvPr/>
              </p:nvSpPr>
              <p:spPr>
                <a:xfrm rot="16200000">
                  <a:off x="7300686" y="947964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8" name="Block Arc 67">
                  <a:extLst>
                    <a:ext uri="{FF2B5EF4-FFF2-40B4-BE49-F238E27FC236}">
                      <a16:creationId xmlns:a16="http://schemas.microsoft.com/office/drawing/2014/main" id="{3CD4BEDF-DF6F-4B04-BA37-6AC95AAF747C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2669268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9" name="Block Arc 68">
                  <a:extLst>
                    <a:ext uri="{FF2B5EF4-FFF2-40B4-BE49-F238E27FC236}">
                      <a16:creationId xmlns:a16="http://schemas.microsoft.com/office/drawing/2014/main" id="{3C3A9EB3-9902-453E-A19B-3322135DFA29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1544411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C5F4AA6A-7B26-4556-9968-7099AFCD4E1E}"/>
                  </a:ext>
                </a:extLst>
              </p:cNvPr>
              <p:cNvGrpSpPr/>
              <p:nvPr/>
            </p:nvGrpSpPr>
            <p:grpSpPr>
              <a:xfrm>
                <a:off x="2820309" y="1647146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77E7505F-52B4-4F4A-AB3E-3B16D95B3689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FC0A3278-E0D9-415B-A1B5-C293CD70782F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4" name="Group 53">
                <a:extLst>
                  <a:ext uri="{FF2B5EF4-FFF2-40B4-BE49-F238E27FC236}">
                    <a16:creationId xmlns:a16="http://schemas.microsoft.com/office/drawing/2014/main" id="{1BC09AFA-B8F7-40C9-9E02-2AE9EDF74AB8}"/>
                  </a:ext>
                </a:extLst>
              </p:cNvPr>
              <p:cNvGrpSpPr/>
              <p:nvPr/>
            </p:nvGrpSpPr>
            <p:grpSpPr>
              <a:xfrm>
                <a:off x="3242130" y="674802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61" name="Freeform: Shape 60">
                  <a:extLst>
                    <a:ext uri="{FF2B5EF4-FFF2-40B4-BE49-F238E27FC236}">
                      <a16:creationId xmlns:a16="http://schemas.microsoft.com/office/drawing/2014/main" id="{FB199089-C6DA-47D3-B99A-B2E2493BC5F6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5203D325-8E85-4497-B7CA-07A982D78357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5" name="Group 54">
                <a:extLst>
                  <a:ext uri="{FF2B5EF4-FFF2-40B4-BE49-F238E27FC236}">
                    <a16:creationId xmlns:a16="http://schemas.microsoft.com/office/drawing/2014/main" id="{38FE573D-DF54-4936-900E-9465AC9B4F8A}"/>
                  </a:ext>
                </a:extLst>
              </p:cNvPr>
              <p:cNvGrpSpPr/>
              <p:nvPr/>
            </p:nvGrpSpPr>
            <p:grpSpPr>
              <a:xfrm>
                <a:off x="4972506" y="2589893"/>
                <a:ext cx="933447" cy="933447"/>
                <a:chOff x="3193143" y="1833336"/>
                <a:chExt cx="2757714" cy="2757714"/>
              </a:xfrm>
            </p:grpSpPr>
            <p:sp>
              <p:nvSpPr>
                <p:cNvPr id="59" name="Freeform: Shape 58">
                  <a:extLst>
                    <a:ext uri="{FF2B5EF4-FFF2-40B4-BE49-F238E27FC236}">
                      <a16:creationId xmlns:a16="http://schemas.microsoft.com/office/drawing/2014/main" id="{A007E4B3-CF31-4E6F-AAA7-90B4E7B620E6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0" name="Freeform: Shape 59">
                  <a:extLst>
                    <a:ext uri="{FF2B5EF4-FFF2-40B4-BE49-F238E27FC236}">
                      <a16:creationId xmlns:a16="http://schemas.microsoft.com/office/drawing/2014/main" id="{CD5A1E78-C4B1-49CA-83E6-EA8560897B42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56" name="Group 55">
                <a:extLst>
                  <a:ext uri="{FF2B5EF4-FFF2-40B4-BE49-F238E27FC236}">
                    <a16:creationId xmlns:a16="http://schemas.microsoft.com/office/drawing/2014/main" id="{9D46B954-AA3D-4D39-9CF2-3421503E0722}"/>
                  </a:ext>
                </a:extLst>
              </p:cNvPr>
              <p:cNvGrpSpPr/>
              <p:nvPr/>
            </p:nvGrpSpPr>
            <p:grpSpPr>
              <a:xfrm>
                <a:off x="4194006" y="378736"/>
                <a:ext cx="2280867" cy="2280867"/>
                <a:chOff x="3193144" y="1833336"/>
                <a:chExt cx="2757714" cy="2757714"/>
              </a:xfrm>
            </p:grpSpPr>
            <p:sp>
              <p:nvSpPr>
                <p:cNvPr id="57" name="Freeform: Shape 56">
                  <a:extLst>
                    <a:ext uri="{FF2B5EF4-FFF2-40B4-BE49-F238E27FC236}">
                      <a16:creationId xmlns:a16="http://schemas.microsoft.com/office/drawing/2014/main" id="{B28FC3D3-6F8E-4CF7-B2EB-141FBA9E8F8C}"/>
                    </a:ext>
                  </a:extLst>
                </p:cNvPr>
                <p:cNvSpPr/>
                <p:nvPr/>
              </p:nvSpPr>
              <p:spPr>
                <a:xfrm>
                  <a:off x="4572001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8" name="Freeform: Shape 57">
                  <a:extLst>
                    <a:ext uri="{FF2B5EF4-FFF2-40B4-BE49-F238E27FC236}">
                      <a16:creationId xmlns:a16="http://schemas.microsoft.com/office/drawing/2014/main" id="{93F28A2F-954F-489A-B8DB-B4551EA074A2}"/>
                    </a:ext>
                  </a:extLst>
                </p:cNvPr>
                <p:cNvSpPr/>
                <p:nvPr/>
              </p:nvSpPr>
              <p:spPr>
                <a:xfrm>
                  <a:off x="3193144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E4FA27C-0F48-4C35-A1DF-B3D8598ADEE4}"/>
              </a:ext>
            </a:extLst>
          </p:cNvPr>
          <p:cNvGrpSpPr/>
          <p:nvPr/>
        </p:nvGrpSpPr>
        <p:grpSpPr>
          <a:xfrm>
            <a:off x="395836" y="3490956"/>
            <a:ext cx="878187" cy="1484028"/>
            <a:chOff x="2820309" y="378736"/>
            <a:chExt cx="3654564" cy="6175768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19129E3E-FFA0-4642-8C80-7AB73089B2AE}"/>
                </a:ext>
              </a:extLst>
            </p:cNvPr>
            <p:cNvSpPr/>
            <p:nvPr/>
          </p:nvSpPr>
          <p:spPr>
            <a:xfrm>
              <a:off x="3245645" y="2718154"/>
              <a:ext cx="860537" cy="860537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526DFBB-44FD-4288-AB22-2AD3174E9E07}"/>
                </a:ext>
              </a:extLst>
            </p:cNvPr>
            <p:cNvSpPr/>
            <p:nvPr/>
          </p:nvSpPr>
          <p:spPr>
            <a:xfrm>
              <a:off x="5340159" y="1982674"/>
              <a:ext cx="958455" cy="95845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DF60BA4-0C9C-41C1-840C-5E04C88F2AFA}"/>
                </a:ext>
              </a:extLst>
            </p:cNvPr>
            <p:cNvSpPr/>
            <p:nvPr/>
          </p:nvSpPr>
          <p:spPr>
            <a:xfrm>
              <a:off x="3007972" y="6213531"/>
              <a:ext cx="2917599" cy="340973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99696A6-707F-485E-8CD5-C1AE8148CFB1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005282"/>
              <a:chOff x="2820309" y="378736"/>
              <a:chExt cx="3654564" cy="6005282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97BDE586-D197-4EE9-AC82-D51022CB27DD}"/>
                  </a:ext>
                </a:extLst>
              </p:cNvPr>
              <p:cNvSpPr/>
              <p:nvPr/>
            </p:nvSpPr>
            <p:spPr>
              <a:xfrm>
                <a:off x="3147673" y="871875"/>
                <a:ext cx="2892653" cy="289265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16BDCBF6-6C70-40F7-B015-2264517458FA}"/>
                  </a:ext>
                </a:extLst>
              </p:cNvPr>
              <p:cNvSpPr/>
              <p:nvPr/>
            </p:nvSpPr>
            <p:spPr>
              <a:xfrm>
                <a:off x="3922657" y="2642142"/>
                <a:ext cx="745216" cy="74521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1DD9EB1B-5F2A-4D39-A26A-01CAD9C72D76}"/>
                  </a:ext>
                </a:extLst>
              </p:cNvPr>
              <p:cNvGrpSpPr/>
              <p:nvPr/>
            </p:nvGrpSpPr>
            <p:grpSpPr>
              <a:xfrm>
                <a:off x="3439887" y="473982"/>
                <a:ext cx="2026556" cy="5910036"/>
                <a:chOff x="7271658" y="947964"/>
                <a:chExt cx="2026556" cy="5910036"/>
              </a:xfrm>
            </p:grpSpPr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310993CF-C132-4450-8C42-F4CFACC271B8}"/>
                    </a:ext>
                  </a:extLst>
                </p:cNvPr>
                <p:cNvGrpSpPr/>
                <p:nvPr/>
              </p:nvGrpSpPr>
              <p:grpSpPr>
                <a:xfrm>
                  <a:off x="8069943" y="2324100"/>
                  <a:ext cx="457200" cy="4533900"/>
                  <a:chOff x="8069943" y="2324100"/>
                  <a:chExt cx="457200" cy="4533900"/>
                </a:xfrm>
              </p:grpSpPr>
              <p:sp>
                <p:nvSpPr>
                  <p:cNvPr id="43" name="Freeform: Shape 42">
                    <a:extLst>
                      <a:ext uri="{FF2B5EF4-FFF2-40B4-BE49-F238E27FC236}">
                        <a16:creationId xmlns:a16="http://schemas.microsoft.com/office/drawing/2014/main" id="{842A7078-E578-4FC2-A835-25E222F0F056}"/>
                      </a:ext>
                    </a:extLst>
                  </p:cNvPr>
                  <p:cNvSpPr/>
                  <p:nvPr/>
                </p:nvSpPr>
                <p:spPr>
                  <a:xfrm>
                    <a:off x="8298543" y="2324100"/>
                    <a:ext cx="228600" cy="4533900"/>
                  </a:xfrm>
                  <a:custGeom>
                    <a:avLst/>
                    <a:gdLst>
                      <a:gd name="connsiteX0" fmla="*/ 0 w 228600"/>
                      <a:gd name="connsiteY0" fmla="*/ 0 h 4533900"/>
                      <a:gd name="connsiteX1" fmla="*/ 1143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0" y="0"/>
                        </a:moveTo>
                        <a:lnTo>
                          <a:pt x="1143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4" name="Freeform: Shape 43">
                    <a:extLst>
                      <a:ext uri="{FF2B5EF4-FFF2-40B4-BE49-F238E27FC236}">
                        <a16:creationId xmlns:a16="http://schemas.microsoft.com/office/drawing/2014/main" id="{2DC89C7D-33EA-4459-910B-E1290EFAB4B1}"/>
                      </a:ext>
                    </a:extLst>
                  </p:cNvPr>
                  <p:cNvSpPr/>
                  <p:nvPr/>
                </p:nvSpPr>
                <p:spPr>
                  <a:xfrm>
                    <a:off x="8069943" y="2324100"/>
                    <a:ext cx="228600" cy="4533900"/>
                  </a:xfrm>
                  <a:custGeom>
                    <a:avLst/>
                    <a:gdLst>
                      <a:gd name="connsiteX0" fmla="*/ 114300 w 228600"/>
                      <a:gd name="connsiteY0" fmla="*/ 0 h 4533900"/>
                      <a:gd name="connsiteX1" fmla="*/ 2286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11430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114300" y="0"/>
                        </a:moveTo>
                        <a:lnTo>
                          <a:pt x="2286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114300" y="0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39" name="Block Arc 38">
                  <a:extLst>
                    <a:ext uri="{FF2B5EF4-FFF2-40B4-BE49-F238E27FC236}">
                      <a16:creationId xmlns:a16="http://schemas.microsoft.com/office/drawing/2014/main" id="{57675BB4-C881-43A6-A2EC-187B2CE7BA6D}"/>
                    </a:ext>
                  </a:extLst>
                </p:cNvPr>
                <p:cNvSpPr/>
                <p:nvPr/>
              </p:nvSpPr>
              <p:spPr>
                <a:xfrm rot="16200000">
                  <a:off x="7271658" y="2061029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0" name="Block Arc 39">
                  <a:extLst>
                    <a:ext uri="{FF2B5EF4-FFF2-40B4-BE49-F238E27FC236}">
                      <a16:creationId xmlns:a16="http://schemas.microsoft.com/office/drawing/2014/main" id="{D9C7E4C9-DA36-43FE-9C90-3497D006A413}"/>
                    </a:ext>
                  </a:extLst>
                </p:cNvPr>
                <p:cNvSpPr/>
                <p:nvPr/>
              </p:nvSpPr>
              <p:spPr>
                <a:xfrm rot="16200000">
                  <a:off x="7300686" y="947964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1" name="Block Arc 40">
                  <a:extLst>
                    <a:ext uri="{FF2B5EF4-FFF2-40B4-BE49-F238E27FC236}">
                      <a16:creationId xmlns:a16="http://schemas.microsoft.com/office/drawing/2014/main" id="{8CA43811-7D56-47F5-B1D3-BB6305023296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2669268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2" name="Block Arc 41">
                  <a:extLst>
                    <a:ext uri="{FF2B5EF4-FFF2-40B4-BE49-F238E27FC236}">
                      <a16:creationId xmlns:a16="http://schemas.microsoft.com/office/drawing/2014/main" id="{6DF9E85E-8D11-412E-BF9A-D6F5D5213B68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1544411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46134647-6672-4DAD-8BC7-459EA0CAE24F}"/>
                  </a:ext>
                </a:extLst>
              </p:cNvPr>
              <p:cNvGrpSpPr/>
              <p:nvPr/>
            </p:nvGrpSpPr>
            <p:grpSpPr>
              <a:xfrm>
                <a:off x="2820309" y="1647146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36" name="Freeform: Shape 35">
                  <a:extLst>
                    <a:ext uri="{FF2B5EF4-FFF2-40B4-BE49-F238E27FC236}">
                      <a16:creationId xmlns:a16="http://schemas.microsoft.com/office/drawing/2014/main" id="{B522EE47-7F8F-41E2-9FAD-3B30E8053AB8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7" name="Freeform: Shape 36">
                  <a:extLst>
                    <a:ext uri="{FF2B5EF4-FFF2-40B4-BE49-F238E27FC236}">
                      <a16:creationId xmlns:a16="http://schemas.microsoft.com/office/drawing/2014/main" id="{946B2627-1C94-4FB1-95A2-31680DB9EEDE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D50800EF-6933-4793-ACCE-9F6555C3298F}"/>
                  </a:ext>
                </a:extLst>
              </p:cNvPr>
              <p:cNvGrpSpPr/>
              <p:nvPr/>
            </p:nvGrpSpPr>
            <p:grpSpPr>
              <a:xfrm>
                <a:off x="3242130" y="674802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34" name="Freeform: Shape 33">
                  <a:extLst>
                    <a:ext uri="{FF2B5EF4-FFF2-40B4-BE49-F238E27FC236}">
                      <a16:creationId xmlns:a16="http://schemas.microsoft.com/office/drawing/2014/main" id="{FA2D872B-4E35-4643-AF3D-A05908D453C8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5" name="Freeform: Shape 34">
                  <a:extLst>
                    <a:ext uri="{FF2B5EF4-FFF2-40B4-BE49-F238E27FC236}">
                      <a16:creationId xmlns:a16="http://schemas.microsoft.com/office/drawing/2014/main" id="{78202205-2C3E-4587-9BF0-315BCABD9B8A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3C9F4A97-2630-43BB-AB54-E499BC775AA4}"/>
                  </a:ext>
                </a:extLst>
              </p:cNvPr>
              <p:cNvGrpSpPr/>
              <p:nvPr/>
            </p:nvGrpSpPr>
            <p:grpSpPr>
              <a:xfrm>
                <a:off x="4972506" y="2589893"/>
                <a:ext cx="933447" cy="933447"/>
                <a:chOff x="3193143" y="1833336"/>
                <a:chExt cx="2757714" cy="2757714"/>
              </a:xfrm>
            </p:grpSpPr>
            <p:sp>
              <p:nvSpPr>
                <p:cNvPr id="32" name="Freeform: Shape 31">
                  <a:extLst>
                    <a:ext uri="{FF2B5EF4-FFF2-40B4-BE49-F238E27FC236}">
                      <a16:creationId xmlns:a16="http://schemas.microsoft.com/office/drawing/2014/main" id="{27CD868A-28D4-4353-AA53-61A7CBD46182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3" name="Freeform: Shape 32">
                  <a:extLst>
                    <a:ext uri="{FF2B5EF4-FFF2-40B4-BE49-F238E27FC236}">
                      <a16:creationId xmlns:a16="http://schemas.microsoft.com/office/drawing/2014/main" id="{71B3E052-2A10-4D3F-B1F7-1735F4508530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9BF1F610-8175-478F-A3A8-B9D19FC99C68}"/>
                  </a:ext>
                </a:extLst>
              </p:cNvPr>
              <p:cNvGrpSpPr/>
              <p:nvPr/>
            </p:nvGrpSpPr>
            <p:grpSpPr>
              <a:xfrm>
                <a:off x="4194006" y="378736"/>
                <a:ext cx="2280867" cy="2280867"/>
                <a:chOff x="3193144" y="1833336"/>
                <a:chExt cx="2757714" cy="2757714"/>
              </a:xfrm>
            </p:grpSpPr>
            <p:sp>
              <p:nvSpPr>
                <p:cNvPr id="30" name="Freeform: Shape 29">
                  <a:extLst>
                    <a:ext uri="{FF2B5EF4-FFF2-40B4-BE49-F238E27FC236}">
                      <a16:creationId xmlns:a16="http://schemas.microsoft.com/office/drawing/2014/main" id="{1D2B688D-049E-4122-AFB2-38D4D96B34F0}"/>
                    </a:ext>
                  </a:extLst>
                </p:cNvPr>
                <p:cNvSpPr/>
                <p:nvPr/>
              </p:nvSpPr>
              <p:spPr>
                <a:xfrm>
                  <a:off x="4572001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1" name="Freeform: Shape 30">
                  <a:extLst>
                    <a:ext uri="{FF2B5EF4-FFF2-40B4-BE49-F238E27FC236}">
                      <a16:creationId xmlns:a16="http://schemas.microsoft.com/office/drawing/2014/main" id="{47DF9C3D-9A07-419C-84B6-3153A8218FEE}"/>
                    </a:ext>
                  </a:extLst>
                </p:cNvPr>
                <p:cNvSpPr/>
                <p:nvPr/>
              </p:nvSpPr>
              <p:spPr>
                <a:xfrm>
                  <a:off x="3193144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EDC6246-9E12-430F-99A4-E3341F39E803}"/>
              </a:ext>
            </a:extLst>
          </p:cNvPr>
          <p:cNvGrpSpPr/>
          <p:nvPr/>
        </p:nvGrpSpPr>
        <p:grpSpPr>
          <a:xfrm>
            <a:off x="160889" y="229563"/>
            <a:ext cx="3438826" cy="6398874"/>
            <a:chOff x="2854597" y="111992"/>
            <a:chExt cx="3438826" cy="6398874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C394E2A-F41B-44C4-BA87-0BA36606B06F}"/>
                </a:ext>
              </a:extLst>
            </p:cNvPr>
            <p:cNvSpPr/>
            <p:nvPr/>
          </p:nvSpPr>
          <p:spPr>
            <a:xfrm>
              <a:off x="3443457" y="6186824"/>
              <a:ext cx="2257086" cy="324042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0D1401B3-61AE-40D2-8873-E97DCC690029}"/>
                </a:ext>
              </a:extLst>
            </p:cNvPr>
            <p:cNvGrpSpPr/>
            <p:nvPr/>
          </p:nvGrpSpPr>
          <p:grpSpPr>
            <a:xfrm>
              <a:off x="2854597" y="111992"/>
              <a:ext cx="3438826" cy="6236853"/>
              <a:chOff x="2854597" y="111992"/>
              <a:chExt cx="3438826" cy="6236853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3C1A2981-6380-428D-B2A9-1388C1E520ED}"/>
                  </a:ext>
                </a:extLst>
              </p:cNvPr>
              <p:cNvSpPr/>
              <p:nvPr/>
            </p:nvSpPr>
            <p:spPr>
              <a:xfrm rot="14026178" flipH="1">
                <a:off x="3674396" y="1644238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1C0481F1-6888-4CF9-BC17-883B557E9E34}"/>
                  </a:ext>
                </a:extLst>
              </p:cNvPr>
              <p:cNvSpPr/>
              <p:nvPr/>
            </p:nvSpPr>
            <p:spPr>
              <a:xfrm rot="7573822">
                <a:off x="5219769" y="1626843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4529A92A-EE99-4CC0-9290-AA0AEDA34E99}"/>
                  </a:ext>
                </a:extLst>
              </p:cNvPr>
              <p:cNvSpPr/>
              <p:nvPr/>
            </p:nvSpPr>
            <p:spPr>
              <a:xfrm>
                <a:off x="4445071" y="111992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Trapezoid 6">
                <a:extLst>
                  <a:ext uri="{FF2B5EF4-FFF2-40B4-BE49-F238E27FC236}">
                    <a16:creationId xmlns:a16="http://schemas.microsoft.com/office/drawing/2014/main" id="{BB7FC214-1914-45A2-860F-1864010A740D}"/>
                  </a:ext>
                </a:extLst>
              </p:cNvPr>
              <p:cNvSpPr/>
              <p:nvPr/>
            </p:nvSpPr>
            <p:spPr>
              <a:xfrm>
                <a:off x="4371975" y="2234045"/>
                <a:ext cx="400050" cy="4114800"/>
              </a:xfrm>
              <a:prstGeom prst="trapezoid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038FCD39-A81F-4E43-BC4E-02F907AAD73C}"/>
                  </a:ext>
                </a:extLst>
              </p:cNvPr>
              <p:cNvSpPr/>
              <p:nvPr/>
            </p:nvSpPr>
            <p:spPr>
              <a:xfrm>
                <a:off x="4281343" y="1776845"/>
                <a:ext cx="581314" cy="5813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61F65133-FA39-4014-B6FB-FF458CEDD430}"/>
                  </a:ext>
                </a:extLst>
              </p:cNvPr>
              <p:cNvSpPr/>
              <p:nvPr/>
            </p:nvSpPr>
            <p:spPr>
              <a:xfrm>
                <a:off x="4416136" y="1911638"/>
                <a:ext cx="311727" cy="311727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8F254530-61C0-4A2A-B9E0-4994AACEDA6C}"/>
              </a:ext>
            </a:extLst>
          </p:cNvPr>
          <p:cNvSpPr txBox="1"/>
          <p:nvPr/>
        </p:nvSpPr>
        <p:spPr>
          <a:xfrm>
            <a:off x="3729609" y="649923"/>
            <a:ext cx="5107310" cy="646331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bg1"/>
                </a:solidFill>
                <a:latin typeface="Product Sans" panose="020B0403030502040203" pitchFamily="34" charset="0"/>
              </a:rPr>
              <a:t>WIND TURBIN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E024999-5345-4ABE-8DF8-5D250F22A25F}"/>
              </a:ext>
            </a:extLst>
          </p:cNvPr>
          <p:cNvSpPr txBox="1"/>
          <p:nvPr/>
        </p:nvSpPr>
        <p:spPr>
          <a:xfrm>
            <a:off x="4643519" y="1780054"/>
            <a:ext cx="3729780" cy="707886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 sit amet, consectetur adipiscing elit. 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A799F3C7-6DE2-4543-A977-873F22DFCA31}"/>
              </a:ext>
            </a:extLst>
          </p:cNvPr>
          <p:cNvSpPr/>
          <p:nvPr/>
        </p:nvSpPr>
        <p:spPr>
          <a:xfrm>
            <a:off x="3789523" y="1736186"/>
            <a:ext cx="795621" cy="7956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3" name="Graphic 72" descr="Rain">
            <a:extLst>
              <a:ext uri="{FF2B5EF4-FFF2-40B4-BE49-F238E27FC236}">
                <a16:creationId xmlns:a16="http://schemas.microsoft.com/office/drawing/2014/main" id="{D61C0476-1F3F-403A-9556-E189303BE0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67293" y="1824470"/>
            <a:ext cx="640080" cy="640080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D859960B-A88D-4EA8-B163-F11FFBDD31EF}"/>
              </a:ext>
            </a:extLst>
          </p:cNvPr>
          <p:cNvSpPr txBox="1"/>
          <p:nvPr/>
        </p:nvSpPr>
        <p:spPr>
          <a:xfrm>
            <a:off x="4643519" y="2944037"/>
            <a:ext cx="3729780" cy="707886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 sit amet, consectetur adipiscing elit. 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1558E05E-27C6-4C29-96DF-06966574D6EA}"/>
              </a:ext>
            </a:extLst>
          </p:cNvPr>
          <p:cNvSpPr/>
          <p:nvPr/>
        </p:nvSpPr>
        <p:spPr>
          <a:xfrm>
            <a:off x="3789523" y="2900169"/>
            <a:ext cx="795621" cy="7956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 descr="Leaf">
            <a:extLst>
              <a:ext uri="{FF2B5EF4-FFF2-40B4-BE49-F238E27FC236}">
                <a16:creationId xmlns:a16="http://schemas.microsoft.com/office/drawing/2014/main" id="{A5457836-C98E-40C3-9286-7A1094210D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83424" y="2984686"/>
            <a:ext cx="640080" cy="640080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4273A6E7-F5BD-416C-BB2D-1AA2F6AD642F}"/>
              </a:ext>
            </a:extLst>
          </p:cNvPr>
          <p:cNvSpPr txBox="1"/>
          <p:nvPr/>
        </p:nvSpPr>
        <p:spPr>
          <a:xfrm>
            <a:off x="4643519" y="4149777"/>
            <a:ext cx="3729780" cy="707886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 sit amet, consectetur adipiscing elit. 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1A209228-1208-4267-B264-831DB61AF8E4}"/>
              </a:ext>
            </a:extLst>
          </p:cNvPr>
          <p:cNvSpPr/>
          <p:nvPr/>
        </p:nvSpPr>
        <p:spPr>
          <a:xfrm>
            <a:off x="3789523" y="4105909"/>
            <a:ext cx="795621" cy="7956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7" name="Graphic 76" descr="Upward trend">
            <a:extLst>
              <a:ext uri="{FF2B5EF4-FFF2-40B4-BE49-F238E27FC236}">
                <a16:creationId xmlns:a16="http://schemas.microsoft.com/office/drawing/2014/main" id="{E4B521F9-FC16-45E2-AEC7-444D7BB0DC1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67293" y="4192183"/>
            <a:ext cx="640080" cy="640080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4B600FC8-A0A8-4A1F-A10B-A84C02802BCE}"/>
              </a:ext>
            </a:extLst>
          </p:cNvPr>
          <p:cNvSpPr txBox="1"/>
          <p:nvPr/>
        </p:nvSpPr>
        <p:spPr>
          <a:xfrm>
            <a:off x="4643519" y="5355517"/>
            <a:ext cx="3729780" cy="707886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 sit amet, consectetur adipiscing elit. 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64BC09E3-E2B4-487C-8C44-F761C67C9FC4}"/>
              </a:ext>
            </a:extLst>
          </p:cNvPr>
          <p:cNvSpPr/>
          <p:nvPr/>
        </p:nvSpPr>
        <p:spPr>
          <a:xfrm>
            <a:off x="3789523" y="5311649"/>
            <a:ext cx="795621" cy="7956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4" name="Graphic 83" descr="Gears">
            <a:extLst>
              <a:ext uri="{FF2B5EF4-FFF2-40B4-BE49-F238E27FC236}">
                <a16:creationId xmlns:a16="http://schemas.microsoft.com/office/drawing/2014/main" id="{F148B839-6749-4625-986E-CE8C6D4AAD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867293" y="5389419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379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7B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TextBox 92">
            <a:extLst>
              <a:ext uri="{FF2B5EF4-FFF2-40B4-BE49-F238E27FC236}">
                <a16:creationId xmlns:a16="http://schemas.microsoft.com/office/drawing/2014/main" id="{43ACFC22-99B3-4618-B76B-426D93F96B51}"/>
              </a:ext>
            </a:extLst>
          </p:cNvPr>
          <p:cNvSpPr txBox="1"/>
          <p:nvPr/>
        </p:nvSpPr>
        <p:spPr>
          <a:xfrm>
            <a:off x="915071" y="662740"/>
            <a:ext cx="5107310" cy="646331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3600" b="1">
                <a:solidFill>
                  <a:schemeClr val="bg1"/>
                </a:solidFill>
                <a:latin typeface="Product Sans" panose="020B0403030502040203" pitchFamily="34" charset="0"/>
              </a:rPr>
              <a:t>SOLAR PANEL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DF6BC19-CA04-4C70-971A-5162695C3D75}"/>
              </a:ext>
            </a:extLst>
          </p:cNvPr>
          <p:cNvGrpSpPr/>
          <p:nvPr/>
        </p:nvGrpSpPr>
        <p:grpSpPr>
          <a:xfrm>
            <a:off x="760240" y="4618244"/>
            <a:ext cx="2023264" cy="1730829"/>
            <a:chOff x="3976307" y="2940445"/>
            <a:chExt cx="1865693" cy="1596033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D0EF7127-F93C-4A33-A3F6-3583FE7F7CE5}"/>
                </a:ext>
              </a:extLst>
            </p:cNvPr>
            <p:cNvSpPr/>
            <p:nvPr/>
          </p:nvSpPr>
          <p:spPr>
            <a:xfrm>
              <a:off x="3976853" y="4330103"/>
              <a:ext cx="1644541" cy="206375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330462C-FE23-4076-A32A-A6413140F1D0}"/>
                </a:ext>
              </a:extLst>
            </p:cNvPr>
            <p:cNvSpPr/>
            <p:nvPr/>
          </p:nvSpPr>
          <p:spPr>
            <a:xfrm>
              <a:off x="5128339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E5FEE61-07A8-463F-8D7C-3A7A10AF2A12}"/>
                </a:ext>
              </a:extLst>
            </p:cNvPr>
            <p:cNvSpPr/>
            <p:nvPr/>
          </p:nvSpPr>
          <p:spPr>
            <a:xfrm>
              <a:off x="4341430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Parallelogram 32">
              <a:extLst>
                <a:ext uri="{FF2B5EF4-FFF2-40B4-BE49-F238E27FC236}">
                  <a16:creationId xmlns:a16="http://schemas.microsoft.com/office/drawing/2014/main" id="{DE4A63EE-C77D-4FE4-BA41-B85928C8C6EF}"/>
                </a:ext>
              </a:extLst>
            </p:cNvPr>
            <p:cNvSpPr/>
            <p:nvPr/>
          </p:nvSpPr>
          <p:spPr>
            <a:xfrm>
              <a:off x="3976307" y="2940445"/>
              <a:ext cx="1865693" cy="1110457"/>
            </a:xfrm>
            <a:prstGeom prst="parallelogram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Parallelogram 1">
              <a:extLst>
                <a:ext uri="{FF2B5EF4-FFF2-40B4-BE49-F238E27FC236}">
                  <a16:creationId xmlns:a16="http://schemas.microsoft.com/office/drawing/2014/main" id="{ED06ED5C-4B8D-457D-9BFD-17D40B953B23}"/>
                </a:ext>
              </a:extLst>
            </p:cNvPr>
            <p:cNvSpPr/>
            <p:nvPr/>
          </p:nvSpPr>
          <p:spPr>
            <a:xfrm>
              <a:off x="4210050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Parallelogram 11">
              <a:extLst>
                <a:ext uri="{FF2B5EF4-FFF2-40B4-BE49-F238E27FC236}">
                  <a16:creationId xmlns:a16="http://schemas.microsoft.com/office/drawing/2014/main" id="{72A18F37-341F-4E20-B7C2-F7FC14ECB9C2}"/>
                </a:ext>
              </a:extLst>
            </p:cNvPr>
            <p:cNvSpPr/>
            <p:nvPr/>
          </p:nvSpPr>
          <p:spPr>
            <a:xfrm>
              <a:off x="4602766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Parallelogram 15">
              <a:extLst>
                <a:ext uri="{FF2B5EF4-FFF2-40B4-BE49-F238E27FC236}">
                  <a16:creationId xmlns:a16="http://schemas.microsoft.com/office/drawing/2014/main" id="{E709F373-0ACF-4985-809B-F3B93DABF4DF}"/>
                </a:ext>
              </a:extLst>
            </p:cNvPr>
            <p:cNvSpPr/>
            <p:nvPr/>
          </p:nvSpPr>
          <p:spPr>
            <a:xfrm>
              <a:off x="4995482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Parallelogram 23">
              <a:extLst>
                <a:ext uri="{FF2B5EF4-FFF2-40B4-BE49-F238E27FC236}">
                  <a16:creationId xmlns:a16="http://schemas.microsoft.com/office/drawing/2014/main" id="{B6FB6D3C-D47E-452F-8824-89DFF82C958A}"/>
                </a:ext>
              </a:extLst>
            </p:cNvPr>
            <p:cNvSpPr/>
            <p:nvPr/>
          </p:nvSpPr>
          <p:spPr>
            <a:xfrm>
              <a:off x="5388198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Parallelogram 24">
              <a:extLst>
                <a:ext uri="{FF2B5EF4-FFF2-40B4-BE49-F238E27FC236}">
                  <a16:creationId xmlns:a16="http://schemas.microsoft.com/office/drawing/2014/main" id="{404951A6-8640-4A77-A581-A003C4C99BA2}"/>
                </a:ext>
              </a:extLst>
            </p:cNvPr>
            <p:cNvSpPr/>
            <p:nvPr/>
          </p:nvSpPr>
          <p:spPr>
            <a:xfrm>
              <a:off x="4119563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Parallelogram 25">
              <a:extLst>
                <a:ext uri="{FF2B5EF4-FFF2-40B4-BE49-F238E27FC236}">
                  <a16:creationId xmlns:a16="http://schemas.microsoft.com/office/drawing/2014/main" id="{B847D5D2-418E-4560-AFA5-1A99A0F1BBDC}"/>
                </a:ext>
              </a:extLst>
            </p:cNvPr>
            <p:cNvSpPr/>
            <p:nvPr/>
          </p:nvSpPr>
          <p:spPr>
            <a:xfrm>
              <a:off x="4512279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Parallelogram 26">
              <a:extLst>
                <a:ext uri="{FF2B5EF4-FFF2-40B4-BE49-F238E27FC236}">
                  <a16:creationId xmlns:a16="http://schemas.microsoft.com/office/drawing/2014/main" id="{493D13D7-08AC-4816-B924-ADBA0865DACD}"/>
                </a:ext>
              </a:extLst>
            </p:cNvPr>
            <p:cNvSpPr/>
            <p:nvPr/>
          </p:nvSpPr>
          <p:spPr>
            <a:xfrm>
              <a:off x="4904995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Parallelogram 27">
              <a:extLst>
                <a:ext uri="{FF2B5EF4-FFF2-40B4-BE49-F238E27FC236}">
                  <a16:creationId xmlns:a16="http://schemas.microsoft.com/office/drawing/2014/main" id="{ADC0D31C-7F15-4671-9453-6B731E9F56A6}"/>
                </a:ext>
              </a:extLst>
            </p:cNvPr>
            <p:cNvSpPr/>
            <p:nvPr/>
          </p:nvSpPr>
          <p:spPr>
            <a:xfrm>
              <a:off x="5297711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Parallelogram 28">
              <a:extLst>
                <a:ext uri="{FF2B5EF4-FFF2-40B4-BE49-F238E27FC236}">
                  <a16:creationId xmlns:a16="http://schemas.microsoft.com/office/drawing/2014/main" id="{E2B2B4AA-ADD0-42E8-84DB-3FD974149201}"/>
                </a:ext>
              </a:extLst>
            </p:cNvPr>
            <p:cNvSpPr/>
            <p:nvPr/>
          </p:nvSpPr>
          <p:spPr>
            <a:xfrm>
              <a:off x="4033837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Parallelogram 29">
              <a:extLst>
                <a:ext uri="{FF2B5EF4-FFF2-40B4-BE49-F238E27FC236}">
                  <a16:creationId xmlns:a16="http://schemas.microsoft.com/office/drawing/2014/main" id="{7FD4C2C6-C281-4402-B20F-52810BA09640}"/>
                </a:ext>
              </a:extLst>
            </p:cNvPr>
            <p:cNvSpPr/>
            <p:nvPr/>
          </p:nvSpPr>
          <p:spPr>
            <a:xfrm>
              <a:off x="4426553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Parallelogram 30">
              <a:extLst>
                <a:ext uri="{FF2B5EF4-FFF2-40B4-BE49-F238E27FC236}">
                  <a16:creationId xmlns:a16="http://schemas.microsoft.com/office/drawing/2014/main" id="{9215F4B4-112F-40D1-889C-3A10E34A96A5}"/>
                </a:ext>
              </a:extLst>
            </p:cNvPr>
            <p:cNvSpPr/>
            <p:nvPr/>
          </p:nvSpPr>
          <p:spPr>
            <a:xfrm>
              <a:off x="4819269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Parallelogram 31">
              <a:extLst>
                <a:ext uri="{FF2B5EF4-FFF2-40B4-BE49-F238E27FC236}">
                  <a16:creationId xmlns:a16="http://schemas.microsoft.com/office/drawing/2014/main" id="{9A67BFDF-A5E0-47F3-AFB4-EAD2A16A77CD}"/>
                </a:ext>
              </a:extLst>
            </p:cNvPr>
            <p:cNvSpPr/>
            <p:nvPr/>
          </p:nvSpPr>
          <p:spPr>
            <a:xfrm>
              <a:off x="5211985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4EC66F2-FAA0-447A-A2FA-836812FC35B3}"/>
              </a:ext>
            </a:extLst>
          </p:cNvPr>
          <p:cNvGrpSpPr/>
          <p:nvPr/>
        </p:nvGrpSpPr>
        <p:grpSpPr>
          <a:xfrm>
            <a:off x="3031257" y="4618244"/>
            <a:ext cx="2023264" cy="1730829"/>
            <a:chOff x="3976307" y="2940445"/>
            <a:chExt cx="1865693" cy="1596033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31BDE07-0CB8-48D4-B638-4234024766C3}"/>
                </a:ext>
              </a:extLst>
            </p:cNvPr>
            <p:cNvSpPr/>
            <p:nvPr/>
          </p:nvSpPr>
          <p:spPr>
            <a:xfrm>
              <a:off x="3976853" y="4330103"/>
              <a:ext cx="1644541" cy="206375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62003DF-791B-4C9B-AF0C-813DEFB6B2E8}"/>
                </a:ext>
              </a:extLst>
            </p:cNvPr>
            <p:cNvSpPr/>
            <p:nvPr/>
          </p:nvSpPr>
          <p:spPr>
            <a:xfrm>
              <a:off x="5128339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436F591-1FD8-4B9F-9366-AAAF39D5C917}"/>
                </a:ext>
              </a:extLst>
            </p:cNvPr>
            <p:cNvSpPr/>
            <p:nvPr/>
          </p:nvSpPr>
          <p:spPr>
            <a:xfrm>
              <a:off x="4341430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Parallelogram 22">
              <a:extLst>
                <a:ext uri="{FF2B5EF4-FFF2-40B4-BE49-F238E27FC236}">
                  <a16:creationId xmlns:a16="http://schemas.microsoft.com/office/drawing/2014/main" id="{C21FE86E-EB2F-4345-A176-B46921A2B819}"/>
                </a:ext>
              </a:extLst>
            </p:cNvPr>
            <p:cNvSpPr/>
            <p:nvPr/>
          </p:nvSpPr>
          <p:spPr>
            <a:xfrm>
              <a:off x="3976307" y="2940445"/>
              <a:ext cx="1865693" cy="1110457"/>
            </a:xfrm>
            <a:prstGeom prst="parallelogram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Parallelogram 34">
              <a:extLst>
                <a:ext uri="{FF2B5EF4-FFF2-40B4-BE49-F238E27FC236}">
                  <a16:creationId xmlns:a16="http://schemas.microsoft.com/office/drawing/2014/main" id="{33FC5362-3CD0-4494-A31E-3301ABC002C4}"/>
                </a:ext>
              </a:extLst>
            </p:cNvPr>
            <p:cNvSpPr/>
            <p:nvPr/>
          </p:nvSpPr>
          <p:spPr>
            <a:xfrm>
              <a:off x="4210050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Parallelogram 35">
              <a:extLst>
                <a:ext uri="{FF2B5EF4-FFF2-40B4-BE49-F238E27FC236}">
                  <a16:creationId xmlns:a16="http://schemas.microsoft.com/office/drawing/2014/main" id="{1D3A432B-8494-4C7E-A654-28A36C50CDB3}"/>
                </a:ext>
              </a:extLst>
            </p:cNvPr>
            <p:cNvSpPr/>
            <p:nvPr/>
          </p:nvSpPr>
          <p:spPr>
            <a:xfrm>
              <a:off x="4602766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Parallelogram 36">
              <a:extLst>
                <a:ext uri="{FF2B5EF4-FFF2-40B4-BE49-F238E27FC236}">
                  <a16:creationId xmlns:a16="http://schemas.microsoft.com/office/drawing/2014/main" id="{F79FF637-AC7D-4099-940B-3C992A7E6D5A}"/>
                </a:ext>
              </a:extLst>
            </p:cNvPr>
            <p:cNvSpPr/>
            <p:nvPr/>
          </p:nvSpPr>
          <p:spPr>
            <a:xfrm>
              <a:off x="4995482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Parallelogram 37">
              <a:extLst>
                <a:ext uri="{FF2B5EF4-FFF2-40B4-BE49-F238E27FC236}">
                  <a16:creationId xmlns:a16="http://schemas.microsoft.com/office/drawing/2014/main" id="{B2D9FCF1-43D9-4972-91D7-B3CC0B0C9506}"/>
                </a:ext>
              </a:extLst>
            </p:cNvPr>
            <p:cNvSpPr/>
            <p:nvPr/>
          </p:nvSpPr>
          <p:spPr>
            <a:xfrm>
              <a:off x="5388198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Parallelogram 38">
              <a:extLst>
                <a:ext uri="{FF2B5EF4-FFF2-40B4-BE49-F238E27FC236}">
                  <a16:creationId xmlns:a16="http://schemas.microsoft.com/office/drawing/2014/main" id="{C855D488-3FEC-4004-B692-195200E36BCB}"/>
                </a:ext>
              </a:extLst>
            </p:cNvPr>
            <p:cNvSpPr/>
            <p:nvPr/>
          </p:nvSpPr>
          <p:spPr>
            <a:xfrm>
              <a:off x="4119563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Parallelogram 39">
              <a:extLst>
                <a:ext uri="{FF2B5EF4-FFF2-40B4-BE49-F238E27FC236}">
                  <a16:creationId xmlns:a16="http://schemas.microsoft.com/office/drawing/2014/main" id="{F6650B66-592D-4D3A-A535-CE805758688C}"/>
                </a:ext>
              </a:extLst>
            </p:cNvPr>
            <p:cNvSpPr/>
            <p:nvPr/>
          </p:nvSpPr>
          <p:spPr>
            <a:xfrm>
              <a:off x="4512279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Parallelogram 40">
              <a:extLst>
                <a:ext uri="{FF2B5EF4-FFF2-40B4-BE49-F238E27FC236}">
                  <a16:creationId xmlns:a16="http://schemas.microsoft.com/office/drawing/2014/main" id="{E1E01CB8-631E-4474-90CC-CF4AEBDF4E03}"/>
                </a:ext>
              </a:extLst>
            </p:cNvPr>
            <p:cNvSpPr/>
            <p:nvPr/>
          </p:nvSpPr>
          <p:spPr>
            <a:xfrm>
              <a:off x="4904995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Parallelogram 41">
              <a:extLst>
                <a:ext uri="{FF2B5EF4-FFF2-40B4-BE49-F238E27FC236}">
                  <a16:creationId xmlns:a16="http://schemas.microsoft.com/office/drawing/2014/main" id="{372E2F68-28AE-4B78-9B53-87BD20053D49}"/>
                </a:ext>
              </a:extLst>
            </p:cNvPr>
            <p:cNvSpPr/>
            <p:nvPr/>
          </p:nvSpPr>
          <p:spPr>
            <a:xfrm>
              <a:off x="5297711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Parallelogram 42">
              <a:extLst>
                <a:ext uri="{FF2B5EF4-FFF2-40B4-BE49-F238E27FC236}">
                  <a16:creationId xmlns:a16="http://schemas.microsoft.com/office/drawing/2014/main" id="{27800870-E4D5-4E3F-BE5B-C2E38AACF986}"/>
                </a:ext>
              </a:extLst>
            </p:cNvPr>
            <p:cNvSpPr/>
            <p:nvPr/>
          </p:nvSpPr>
          <p:spPr>
            <a:xfrm>
              <a:off x="4033837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Parallelogram 43">
              <a:extLst>
                <a:ext uri="{FF2B5EF4-FFF2-40B4-BE49-F238E27FC236}">
                  <a16:creationId xmlns:a16="http://schemas.microsoft.com/office/drawing/2014/main" id="{DFD6F0BA-194C-495E-A20C-C228381A3910}"/>
                </a:ext>
              </a:extLst>
            </p:cNvPr>
            <p:cNvSpPr/>
            <p:nvPr/>
          </p:nvSpPr>
          <p:spPr>
            <a:xfrm>
              <a:off x="4426553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Parallelogram 44">
              <a:extLst>
                <a:ext uri="{FF2B5EF4-FFF2-40B4-BE49-F238E27FC236}">
                  <a16:creationId xmlns:a16="http://schemas.microsoft.com/office/drawing/2014/main" id="{FCB5AA72-0894-4623-917C-BF79143A2E74}"/>
                </a:ext>
              </a:extLst>
            </p:cNvPr>
            <p:cNvSpPr/>
            <p:nvPr/>
          </p:nvSpPr>
          <p:spPr>
            <a:xfrm>
              <a:off x="4819269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Parallelogram 45">
              <a:extLst>
                <a:ext uri="{FF2B5EF4-FFF2-40B4-BE49-F238E27FC236}">
                  <a16:creationId xmlns:a16="http://schemas.microsoft.com/office/drawing/2014/main" id="{682840FA-DB33-4301-9C59-F133BF388576}"/>
                </a:ext>
              </a:extLst>
            </p:cNvPr>
            <p:cNvSpPr/>
            <p:nvPr/>
          </p:nvSpPr>
          <p:spPr>
            <a:xfrm>
              <a:off x="5211985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301B689-638B-44A3-947A-E8007D454EC6}"/>
              </a:ext>
            </a:extLst>
          </p:cNvPr>
          <p:cNvGrpSpPr/>
          <p:nvPr/>
        </p:nvGrpSpPr>
        <p:grpSpPr>
          <a:xfrm>
            <a:off x="5297308" y="4618244"/>
            <a:ext cx="2023264" cy="1730829"/>
            <a:chOff x="3976307" y="2940445"/>
            <a:chExt cx="1865693" cy="1596033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AB4577FB-9C9E-49A7-9003-2A2D55CE6925}"/>
                </a:ext>
              </a:extLst>
            </p:cNvPr>
            <p:cNvSpPr/>
            <p:nvPr/>
          </p:nvSpPr>
          <p:spPr>
            <a:xfrm>
              <a:off x="3976853" y="4330103"/>
              <a:ext cx="1644541" cy="206375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A5E9337-70AF-4226-B109-50C4341C38C7}"/>
                </a:ext>
              </a:extLst>
            </p:cNvPr>
            <p:cNvSpPr/>
            <p:nvPr/>
          </p:nvSpPr>
          <p:spPr>
            <a:xfrm>
              <a:off x="5128339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BEAB3E2D-F6E0-496C-97EE-483267E29CAC}"/>
                </a:ext>
              </a:extLst>
            </p:cNvPr>
            <p:cNvSpPr/>
            <p:nvPr/>
          </p:nvSpPr>
          <p:spPr>
            <a:xfrm>
              <a:off x="4341430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Parallelogram 50">
              <a:extLst>
                <a:ext uri="{FF2B5EF4-FFF2-40B4-BE49-F238E27FC236}">
                  <a16:creationId xmlns:a16="http://schemas.microsoft.com/office/drawing/2014/main" id="{88E18314-0F2F-4294-8B9A-3D6D193A636D}"/>
                </a:ext>
              </a:extLst>
            </p:cNvPr>
            <p:cNvSpPr/>
            <p:nvPr/>
          </p:nvSpPr>
          <p:spPr>
            <a:xfrm>
              <a:off x="3976307" y="2940445"/>
              <a:ext cx="1865693" cy="1110457"/>
            </a:xfrm>
            <a:prstGeom prst="parallelogram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Parallelogram 51">
              <a:extLst>
                <a:ext uri="{FF2B5EF4-FFF2-40B4-BE49-F238E27FC236}">
                  <a16:creationId xmlns:a16="http://schemas.microsoft.com/office/drawing/2014/main" id="{409178DA-6C6E-4612-89BA-0801072D7609}"/>
                </a:ext>
              </a:extLst>
            </p:cNvPr>
            <p:cNvSpPr/>
            <p:nvPr/>
          </p:nvSpPr>
          <p:spPr>
            <a:xfrm>
              <a:off x="4210050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Parallelogram 52">
              <a:extLst>
                <a:ext uri="{FF2B5EF4-FFF2-40B4-BE49-F238E27FC236}">
                  <a16:creationId xmlns:a16="http://schemas.microsoft.com/office/drawing/2014/main" id="{3F803AA9-400B-4170-BC9C-F4A533873EFA}"/>
                </a:ext>
              </a:extLst>
            </p:cNvPr>
            <p:cNvSpPr/>
            <p:nvPr/>
          </p:nvSpPr>
          <p:spPr>
            <a:xfrm>
              <a:off x="4602766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Parallelogram 53">
              <a:extLst>
                <a:ext uri="{FF2B5EF4-FFF2-40B4-BE49-F238E27FC236}">
                  <a16:creationId xmlns:a16="http://schemas.microsoft.com/office/drawing/2014/main" id="{2F259C0F-1B05-42C7-A2B4-9B81790E4A9E}"/>
                </a:ext>
              </a:extLst>
            </p:cNvPr>
            <p:cNvSpPr/>
            <p:nvPr/>
          </p:nvSpPr>
          <p:spPr>
            <a:xfrm>
              <a:off x="4995482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Parallelogram 54">
              <a:extLst>
                <a:ext uri="{FF2B5EF4-FFF2-40B4-BE49-F238E27FC236}">
                  <a16:creationId xmlns:a16="http://schemas.microsoft.com/office/drawing/2014/main" id="{62CDBE13-D79A-42E4-9440-F787ED0274A1}"/>
                </a:ext>
              </a:extLst>
            </p:cNvPr>
            <p:cNvSpPr/>
            <p:nvPr/>
          </p:nvSpPr>
          <p:spPr>
            <a:xfrm>
              <a:off x="5388198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Parallelogram 55">
              <a:extLst>
                <a:ext uri="{FF2B5EF4-FFF2-40B4-BE49-F238E27FC236}">
                  <a16:creationId xmlns:a16="http://schemas.microsoft.com/office/drawing/2014/main" id="{91D137AC-F49B-4515-9147-37EE3B73367F}"/>
                </a:ext>
              </a:extLst>
            </p:cNvPr>
            <p:cNvSpPr/>
            <p:nvPr/>
          </p:nvSpPr>
          <p:spPr>
            <a:xfrm>
              <a:off x="4119563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Parallelogram 56">
              <a:extLst>
                <a:ext uri="{FF2B5EF4-FFF2-40B4-BE49-F238E27FC236}">
                  <a16:creationId xmlns:a16="http://schemas.microsoft.com/office/drawing/2014/main" id="{8511743D-AF71-483D-8837-9A5BFA6DE2BB}"/>
                </a:ext>
              </a:extLst>
            </p:cNvPr>
            <p:cNvSpPr/>
            <p:nvPr/>
          </p:nvSpPr>
          <p:spPr>
            <a:xfrm>
              <a:off x="4512279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Parallelogram 57">
              <a:extLst>
                <a:ext uri="{FF2B5EF4-FFF2-40B4-BE49-F238E27FC236}">
                  <a16:creationId xmlns:a16="http://schemas.microsoft.com/office/drawing/2014/main" id="{C8FB36AC-95DF-4D19-90F0-0C0C6EB87EE9}"/>
                </a:ext>
              </a:extLst>
            </p:cNvPr>
            <p:cNvSpPr/>
            <p:nvPr/>
          </p:nvSpPr>
          <p:spPr>
            <a:xfrm>
              <a:off x="4904995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Parallelogram 58">
              <a:extLst>
                <a:ext uri="{FF2B5EF4-FFF2-40B4-BE49-F238E27FC236}">
                  <a16:creationId xmlns:a16="http://schemas.microsoft.com/office/drawing/2014/main" id="{E90BC9D7-38EA-41FF-A54A-418E9917FAE9}"/>
                </a:ext>
              </a:extLst>
            </p:cNvPr>
            <p:cNvSpPr/>
            <p:nvPr/>
          </p:nvSpPr>
          <p:spPr>
            <a:xfrm>
              <a:off x="5297711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Parallelogram 59">
              <a:extLst>
                <a:ext uri="{FF2B5EF4-FFF2-40B4-BE49-F238E27FC236}">
                  <a16:creationId xmlns:a16="http://schemas.microsoft.com/office/drawing/2014/main" id="{8665CA62-84AD-48A6-A475-00E689BEE21B}"/>
                </a:ext>
              </a:extLst>
            </p:cNvPr>
            <p:cNvSpPr/>
            <p:nvPr/>
          </p:nvSpPr>
          <p:spPr>
            <a:xfrm>
              <a:off x="4033837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Parallelogram 60">
              <a:extLst>
                <a:ext uri="{FF2B5EF4-FFF2-40B4-BE49-F238E27FC236}">
                  <a16:creationId xmlns:a16="http://schemas.microsoft.com/office/drawing/2014/main" id="{1E3378CF-505C-4A4C-9944-1A018926769C}"/>
                </a:ext>
              </a:extLst>
            </p:cNvPr>
            <p:cNvSpPr/>
            <p:nvPr/>
          </p:nvSpPr>
          <p:spPr>
            <a:xfrm>
              <a:off x="4426553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Parallelogram 61">
              <a:extLst>
                <a:ext uri="{FF2B5EF4-FFF2-40B4-BE49-F238E27FC236}">
                  <a16:creationId xmlns:a16="http://schemas.microsoft.com/office/drawing/2014/main" id="{F7266D5A-8B43-46F0-B2B0-47A4D5D9193E}"/>
                </a:ext>
              </a:extLst>
            </p:cNvPr>
            <p:cNvSpPr/>
            <p:nvPr/>
          </p:nvSpPr>
          <p:spPr>
            <a:xfrm>
              <a:off x="4819269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Parallelogram 62">
              <a:extLst>
                <a:ext uri="{FF2B5EF4-FFF2-40B4-BE49-F238E27FC236}">
                  <a16:creationId xmlns:a16="http://schemas.microsoft.com/office/drawing/2014/main" id="{E0D2AFB5-EFDD-4BAB-9890-27E0B98BA64B}"/>
                </a:ext>
              </a:extLst>
            </p:cNvPr>
            <p:cNvSpPr/>
            <p:nvPr/>
          </p:nvSpPr>
          <p:spPr>
            <a:xfrm>
              <a:off x="5211985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2CEA280C-3E40-4EB5-89FD-81CE00DF564D}"/>
              </a:ext>
            </a:extLst>
          </p:cNvPr>
          <p:cNvGrpSpPr/>
          <p:nvPr/>
        </p:nvGrpSpPr>
        <p:grpSpPr>
          <a:xfrm>
            <a:off x="5814924" y="1513424"/>
            <a:ext cx="3119920" cy="5272284"/>
            <a:chOff x="2820309" y="378736"/>
            <a:chExt cx="3654564" cy="6175768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B4CC6754-3241-4779-B929-28AA302E1991}"/>
                </a:ext>
              </a:extLst>
            </p:cNvPr>
            <p:cNvSpPr/>
            <p:nvPr/>
          </p:nvSpPr>
          <p:spPr>
            <a:xfrm>
              <a:off x="3245645" y="2718154"/>
              <a:ext cx="860537" cy="860537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A839D29C-650A-44D0-8138-EC814804C4DA}"/>
                </a:ext>
              </a:extLst>
            </p:cNvPr>
            <p:cNvSpPr/>
            <p:nvPr/>
          </p:nvSpPr>
          <p:spPr>
            <a:xfrm>
              <a:off x="5340159" y="1982674"/>
              <a:ext cx="958455" cy="95845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8AFBAFAD-B5CB-4EFD-B589-0D6E80FD227C}"/>
                </a:ext>
              </a:extLst>
            </p:cNvPr>
            <p:cNvSpPr/>
            <p:nvPr/>
          </p:nvSpPr>
          <p:spPr>
            <a:xfrm>
              <a:off x="3007972" y="6213531"/>
              <a:ext cx="2917599" cy="340973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57B8D540-1421-418F-A269-305762883D9D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005282"/>
              <a:chOff x="2820309" y="378736"/>
              <a:chExt cx="3654564" cy="6005282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5BA60C54-30AA-4339-8632-C7C64BDB76A7}"/>
                  </a:ext>
                </a:extLst>
              </p:cNvPr>
              <p:cNvSpPr/>
              <p:nvPr/>
            </p:nvSpPr>
            <p:spPr>
              <a:xfrm>
                <a:off x="3147673" y="871875"/>
                <a:ext cx="2892653" cy="289265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4305776B-A20A-4621-936A-7C8E2207B77E}"/>
                  </a:ext>
                </a:extLst>
              </p:cNvPr>
              <p:cNvSpPr/>
              <p:nvPr/>
            </p:nvSpPr>
            <p:spPr>
              <a:xfrm>
                <a:off x="3922657" y="2642142"/>
                <a:ext cx="745216" cy="74521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C2EAC084-9FAF-4654-BFE0-7E2F26569170}"/>
                  </a:ext>
                </a:extLst>
              </p:cNvPr>
              <p:cNvGrpSpPr/>
              <p:nvPr/>
            </p:nvGrpSpPr>
            <p:grpSpPr>
              <a:xfrm>
                <a:off x="3439887" y="473982"/>
                <a:ext cx="2026556" cy="5910036"/>
                <a:chOff x="7271658" y="947964"/>
                <a:chExt cx="2026556" cy="5910036"/>
              </a:xfrm>
            </p:grpSpPr>
            <p:grpSp>
              <p:nvGrpSpPr>
                <p:cNvPr id="84" name="Group 83">
                  <a:extLst>
                    <a:ext uri="{FF2B5EF4-FFF2-40B4-BE49-F238E27FC236}">
                      <a16:creationId xmlns:a16="http://schemas.microsoft.com/office/drawing/2014/main" id="{D1A13A2B-27AC-43D3-A5B1-6C7551E4D593}"/>
                    </a:ext>
                  </a:extLst>
                </p:cNvPr>
                <p:cNvGrpSpPr/>
                <p:nvPr/>
              </p:nvGrpSpPr>
              <p:grpSpPr>
                <a:xfrm>
                  <a:off x="8069943" y="2324100"/>
                  <a:ext cx="457200" cy="4533900"/>
                  <a:chOff x="8069943" y="2324100"/>
                  <a:chExt cx="457200" cy="4533900"/>
                </a:xfrm>
              </p:grpSpPr>
              <p:sp>
                <p:nvSpPr>
                  <p:cNvPr id="89" name="Freeform: Shape 88">
                    <a:extLst>
                      <a:ext uri="{FF2B5EF4-FFF2-40B4-BE49-F238E27FC236}">
                        <a16:creationId xmlns:a16="http://schemas.microsoft.com/office/drawing/2014/main" id="{B73CEE62-6855-4193-9089-4B6525825374}"/>
                      </a:ext>
                    </a:extLst>
                  </p:cNvPr>
                  <p:cNvSpPr/>
                  <p:nvPr/>
                </p:nvSpPr>
                <p:spPr>
                  <a:xfrm>
                    <a:off x="8298543" y="2324100"/>
                    <a:ext cx="228600" cy="4533900"/>
                  </a:xfrm>
                  <a:custGeom>
                    <a:avLst/>
                    <a:gdLst>
                      <a:gd name="connsiteX0" fmla="*/ 0 w 228600"/>
                      <a:gd name="connsiteY0" fmla="*/ 0 h 4533900"/>
                      <a:gd name="connsiteX1" fmla="*/ 1143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0" y="0"/>
                        </a:moveTo>
                        <a:lnTo>
                          <a:pt x="1143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90" name="Freeform: Shape 89">
                    <a:extLst>
                      <a:ext uri="{FF2B5EF4-FFF2-40B4-BE49-F238E27FC236}">
                        <a16:creationId xmlns:a16="http://schemas.microsoft.com/office/drawing/2014/main" id="{CFFDFB39-7CD7-4760-B99A-EB51A204C0CA}"/>
                      </a:ext>
                    </a:extLst>
                  </p:cNvPr>
                  <p:cNvSpPr/>
                  <p:nvPr/>
                </p:nvSpPr>
                <p:spPr>
                  <a:xfrm>
                    <a:off x="8069943" y="2324100"/>
                    <a:ext cx="228600" cy="4533900"/>
                  </a:xfrm>
                  <a:custGeom>
                    <a:avLst/>
                    <a:gdLst>
                      <a:gd name="connsiteX0" fmla="*/ 114300 w 228600"/>
                      <a:gd name="connsiteY0" fmla="*/ 0 h 4533900"/>
                      <a:gd name="connsiteX1" fmla="*/ 2286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11430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114300" y="0"/>
                        </a:moveTo>
                        <a:lnTo>
                          <a:pt x="2286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114300" y="0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85" name="Block Arc 84">
                  <a:extLst>
                    <a:ext uri="{FF2B5EF4-FFF2-40B4-BE49-F238E27FC236}">
                      <a16:creationId xmlns:a16="http://schemas.microsoft.com/office/drawing/2014/main" id="{C33F68EA-5E34-488B-AE78-F4BF17D7A3AB}"/>
                    </a:ext>
                  </a:extLst>
                </p:cNvPr>
                <p:cNvSpPr/>
                <p:nvPr/>
              </p:nvSpPr>
              <p:spPr>
                <a:xfrm rot="16200000">
                  <a:off x="7271658" y="2061029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6" name="Block Arc 85">
                  <a:extLst>
                    <a:ext uri="{FF2B5EF4-FFF2-40B4-BE49-F238E27FC236}">
                      <a16:creationId xmlns:a16="http://schemas.microsoft.com/office/drawing/2014/main" id="{6C67B058-729C-4D7F-B154-188684534FB6}"/>
                    </a:ext>
                  </a:extLst>
                </p:cNvPr>
                <p:cNvSpPr/>
                <p:nvPr/>
              </p:nvSpPr>
              <p:spPr>
                <a:xfrm rot="16200000">
                  <a:off x="7300686" y="947964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7" name="Block Arc 86">
                  <a:extLst>
                    <a:ext uri="{FF2B5EF4-FFF2-40B4-BE49-F238E27FC236}">
                      <a16:creationId xmlns:a16="http://schemas.microsoft.com/office/drawing/2014/main" id="{B02911D0-B462-4E4F-936C-AD4869F0E0CC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2669268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88" name="Block Arc 87">
                  <a:extLst>
                    <a:ext uri="{FF2B5EF4-FFF2-40B4-BE49-F238E27FC236}">
                      <a16:creationId xmlns:a16="http://schemas.microsoft.com/office/drawing/2014/main" id="{85136828-4496-4CAA-8109-39878E49A9BB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1544411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10068D6F-1AE0-4932-904E-112B1913CD37}"/>
                  </a:ext>
                </a:extLst>
              </p:cNvPr>
              <p:cNvGrpSpPr/>
              <p:nvPr/>
            </p:nvGrpSpPr>
            <p:grpSpPr>
              <a:xfrm>
                <a:off x="2820309" y="1647146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82" name="Freeform: Shape 81">
                  <a:extLst>
                    <a:ext uri="{FF2B5EF4-FFF2-40B4-BE49-F238E27FC236}">
                      <a16:creationId xmlns:a16="http://schemas.microsoft.com/office/drawing/2014/main" id="{BE47D75D-CAA7-4611-9771-E84213928373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3" name="Freeform: Shape 82">
                  <a:extLst>
                    <a:ext uri="{FF2B5EF4-FFF2-40B4-BE49-F238E27FC236}">
                      <a16:creationId xmlns:a16="http://schemas.microsoft.com/office/drawing/2014/main" id="{FAF85D0B-1913-4A2F-88F5-4B9AC57E13A8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CBDF6D0A-C0E5-4F0F-A23E-5BAF834247CA}"/>
                  </a:ext>
                </a:extLst>
              </p:cNvPr>
              <p:cNvGrpSpPr/>
              <p:nvPr/>
            </p:nvGrpSpPr>
            <p:grpSpPr>
              <a:xfrm>
                <a:off x="3242130" y="674802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80" name="Freeform: Shape 79">
                  <a:extLst>
                    <a:ext uri="{FF2B5EF4-FFF2-40B4-BE49-F238E27FC236}">
                      <a16:creationId xmlns:a16="http://schemas.microsoft.com/office/drawing/2014/main" id="{F3B2A99D-2AD3-4B5D-A9CC-EAC65850F4FB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1" name="Freeform: Shape 80">
                  <a:extLst>
                    <a:ext uri="{FF2B5EF4-FFF2-40B4-BE49-F238E27FC236}">
                      <a16:creationId xmlns:a16="http://schemas.microsoft.com/office/drawing/2014/main" id="{40FBF033-82AC-40B2-8F18-FC174672E3B8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CA5A659D-4417-4E83-97B7-34CE81062D3E}"/>
                  </a:ext>
                </a:extLst>
              </p:cNvPr>
              <p:cNvGrpSpPr/>
              <p:nvPr/>
            </p:nvGrpSpPr>
            <p:grpSpPr>
              <a:xfrm>
                <a:off x="4972506" y="2589893"/>
                <a:ext cx="933447" cy="933447"/>
                <a:chOff x="3193143" y="1833336"/>
                <a:chExt cx="2757714" cy="2757714"/>
              </a:xfrm>
            </p:grpSpPr>
            <p:sp>
              <p:nvSpPr>
                <p:cNvPr id="78" name="Freeform: Shape 77">
                  <a:extLst>
                    <a:ext uri="{FF2B5EF4-FFF2-40B4-BE49-F238E27FC236}">
                      <a16:creationId xmlns:a16="http://schemas.microsoft.com/office/drawing/2014/main" id="{393D009B-ABBB-42CA-8083-AE07F94D1958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9" name="Freeform: Shape 78">
                  <a:extLst>
                    <a:ext uri="{FF2B5EF4-FFF2-40B4-BE49-F238E27FC236}">
                      <a16:creationId xmlns:a16="http://schemas.microsoft.com/office/drawing/2014/main" id="{478E87B4-DD19-42C6-BAA5-040CAA784FB0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75" name="Group 74">
                <a:extLst>
                  <a:ext uri="{FF2B5EF4-FFF2-40B4-BE49-F238E27FC236}">
                    <a16:creationId xmlns:a16="http://schemas.microsoft.com/office/drawing/2014/main" id="{923E2177-61A0-4FB5-9AE1-F60CA917B0C2}"/>
                  </a:ext>
                </a:extLst>
              </p:cNvPr>
              <p:cNvGrpSpPr/>
              <p:nvPr/>
            </p:nvGrpSpPr>
            <p:grpSpPr>
              <a:xfrm>
                <a:off x="4194006" y="378736"/>
                <a:ext cx="2280867" cy="2280867"/>
                <a:chOff x="3193144" y="1833336"/>
                <a:chExt cx="2757714" cy="2757714"/>
              </a:xfrm>
            </p:grpSpPr>
            <p:sp>
              <p:nvSpPr>
                <p:cNvPr id="76" name="Freeform: Shape 75">
                  <a:extLst>
                    <a:ext uri="{FF2B5EF4-FFF2-40B4-BE49-F238E27FC236}">
                      <a16:creationId xmlns:a16="http://schemas.microsoft.com/office/drawing/2014/main" id="{77AA42B7-F8CF-4E5E-8B9F-3079725D22C9}"/>
                    </a:ext>
                  </a:extLst>
                </p:cNvPr>
                <p:cNvSpPr/>
                <p:nvPr/>
              </p:nvSpPr>
              <p:spPr>
                <a:xfrm>
                  <a:off x="4572001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77" name="Freeform: Shape 76">
                  <a:extLst>
                    <a:ext uri="{FF2B5EF4-FFF2-40B4-BE49-F238E27FC236}">
                      <a16:creationId xmlns:a16="http://schemas.microsoft.com/office/drawing/2014/main" id="{706FBD2B-49CB-4A88-BD31-A3B4E0FC7AE9}"/>
                    </a:ext>
                  </a:extLst>
                </p:cNvPr>
                <p:cNvSpPr/>
                <p:nvPr/>
              </p:nvSpPr>
              <p:spPr>
                <a:xfrm>
                  <a:off x="3193144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78845E55-497F-40C4-A5F0-2ABEBC7188B9}"/>
              </a:ext>
            </a:extLst>
          </p:cNvPr>
          <p:cNvSpPr txBox="1"/>
          <p:nvPr/>
        </p:nvSpPr>
        <p:spPr>
          <a:xfrm>
            <a:off x="1797868" y="1586553"/>
            <a:ext cx="3729780" cy="707886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 sit amet, consectetur adipiscing elit. </a:t>
            </a: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9B01EB4B-69E5-4C7E-8CDD-1295F94F4B11}"/>
              </a:ext>
            </a:extLst>
          </p:cNvPr>
          <p:cNvSpPr/>
          <p:nvPr/>
        </p:nvSpPr>
        <p:spPr>
          <a:xfrm>
            <a:off x="943872" y="1542685"/>
            <a:ext cx="795621" cy="7956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8" name="Graphic 107" descr="Rain">
            <a:extLst>
              <a:ext uri="{FF2B5EF4-FFF2-40B4-BE49-F238E27FC236}">
                <a16:creationId xmlns:a16="http://schemas.microsoft.com/office/drawing/2014/main" id="{4FAEA685-5FD5-4500-B5BC-BCC8F092F4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1642" y="1630969"/>
            <a:ext cx="640080" cy="640080"/>
          </a:xfrm>
          <a:prstGeom prst="rect">
            <a:avLst/>
          </a:prstGeom>
        </p:spPr>
      </p:pic>
      <p:sp>
        <p:nvSpPr>
          <p:cNvPr id="115" name="TextBox 114">
            <a:extLst>
              <a:ext uri="{FF2B5EF4-FFF2-40B4-BE49-F238E27FC236}">
                <a16:creationId xmlns:a16="http://schemas.microsoft.com/office/drawing/2014/main" id="{12C26134-8B5A-4F23-A5F1-8E781697E43D}"/>
              </a:ext>
            </a:extLst>
          </p:cNvPr>
          <p:cNvSpPr txBox="1"/>
          <p:nvPr/>
        </p:nvSpPr>
        <p:spPr>
          <a:xfrm>
            <a:off x="1797868" y="2526450"/>
            <a:ext cx="3729780" cy="707886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 sit amet, consectetur adipiscing elit. </a:t>
            </a: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89F6ECC1-E346-4BDE-9172-C332CB8C0C1E}"/>
              </a:ext>
            </a:extLst>
          </p:cNvPr>
          <p:cNvSpPr/>
          <p:nvPr/>
        </p:nvSpPr>
        <p:spPr>
          <a:xfrm>
            <a:off x="943872" y="2482582"/>
            <a:ext cx="795621" cy="7956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AE921C77-4432-4EAF-B66C-E79346D08E5B}"/>
              </a:ext>
            </a:extLst>
          </p:cNvPr>
          <p:cNvSpPr txBox="1"/>
          <p:nvPr/>
        </p:nvSpPr>
        <p:spPr>
          <a:xfrm>
            <a:off x="1797868" y="3478247"/>
            <a:ext cx="3729780" cy="707886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orem ipsum dolor sit amet, consectetur adipiscing elit. </a:t>
            </a: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42C11BF5-2A34-4E4B-9A8D-39895CE6153A}"/>
              </a:ext>
            </a:extLst>
          </p:cNvPr>
          <p:cNvSpPr/>
          <p:nvPr/>
        </p:nvSpPr>
        <p:spPr>
          <a:xfrm>
            <a:off x="943872" y="3434379"/>
            <a:ext cx="795621" cy="79562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2" name="Graphic 91" descr="Moon">
            <a:extLst>
              <a:ext uri="{FF2B5EF4-FFF2-40B4-BE49-F238E27FC236}">
                <a16:creationId xmlns:a16="http://schemas.microsoft.com/office/drawing/2014/main" id="{5DB0551F-8040-4E61-AE34-12196CBEDA0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35571" y="2550252"/>
            <a:ext cx="640080" cy="640080"/>
          </a:xfrm>
          <a:prstGeom prst="rect">
            <a:avLst/>
          </a:prstGeom>
        </p:spPr>
      </p:pic>
      <p:pic>
        <p:nvPicPr>
          <p:cNvPr id="91" name="Graphic 90" descr="Compass">
            <a:extLst>
              <a:ext uri="{FF2B5EF4-FFF2-40B4-BE49-F238E27FC236}">
                <a16:creationId xmlns:a16="http://schemas.microsoft.com/office/drawing/2014/main" id="{3117F3B6-1912-4CC4-9352-2EF49CBD82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10265" y="3512149"/>
            <a:ext cx="640080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6073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A6496B8-8E47-45E3-8A25-D7B41C4D09ED}"/>
              </a:ext>
            </a:extLst>
          </p:cNvPr>
          <p:cNvSpPr/>
          <p:nvPr/>
        </p:nvSpPr>
        <p:spPr>
          <a:xfrm>
            <a:off x="0" y="0"/>
            <a:ext cx="9144000" cy="4557744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3" name="Oval 172">
            <a:extLst>
              <a:ext uri="{FF2B5EF4-FFF2-40B4-BE49-F238E27FC236}">
                <a16:creationId xmlns:a16="http://schemas.microsoft.com/office/drawing/2014/main" id="{A5F7A595-3A90-4F69-8E90-77FDAA339380}"/>
              </a:ext>
            </a:extLst>
          </p:cNvPr>
          <p:cNvSpPr/>
          <p:nvPr/>
        </p:nvSpPr>
        <p:spPr>
          <a:xfrm>
            <a:off x="5372127" y="3173868"/>
            <a:ext cx="1031348" cy="103134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glow rad="1016000">
              <a:schemeClr val="accent4">
                <a:alpha val="3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9" name="Graphic 288" descr="Cloud">
            <a:extLst>
              <a:ext uri="{FF2B5EF4-FFF2-40B4-BE49-F238E27FC236}">
                <a16:creationId xmlns:a16="http://schemas.microsoft.com/office/drawing/2014/main" id="{8A8E0E37-D171-4DE5-B7CC-98EF50F65B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9679410">
            <a:off x="7188524" y="2585589"/>
            <a:ext cx="2040579" cy="2040579"/>
          </a:xfrm>
          <a:prstGeom prst="rect">
            <a:avLst/>
          </a:prstGeom>
        </p:spPr>
      </p:pic>
      <p:pic>
        <p:nvPicPr>
          <p:cNvPr id="288" name="Graphic 287" descr="Cloud">
            <a:extLst>
              <a:ext uri="{FF2B5EF4-FFF2-40B4-BE49-F238E27FC236}">
                <a16:creationId xmlns:a16="http://schemas.microsoft.com/office/drawing/2014/main" id="{AF523B4F-0E43-472D-823D-47099E8378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882756">
            <a:off x="1399549" y="2742539"/>
            <a:ext cx="1300830" cy="1300830"/>
          </a:xfrm>
          <a:prstGeom prst="rect">
            <a:avLst/>
          </a:prstGeom>
        </p:spPr>
      </p:pic>
      <p:pic>
        <p:nvPicPr>
          <p:cNvPr id="3" name="Graphic 2" descr="Cloud">
            <a:extLst>
              <a:ext uri="{FF2B5EF4-FFF2-40B4-BE49-F238E27FC236}">
                <a16:creationId xmlns:a16="http://schemas.microsoft.com/office/drawing/2014/main" id="{5490BDCB-5E8C-4646-A9DC-E0541F7B4C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399430" y="1501064"/>
            <a:ext cx="2290536" cy="2290536"/>
          </a:xfrm>
          <a:prstGeom prst="rect">
            <a:avLst/>
          </a:prstGeom>
        </p:spPr>
      </p:pic>
      <p:sp>
        <p:nvSpPr>
          <p:cNvPr id="259" name="Cloud4">
            <a:extLst>
              <a:ext uri="{FF2B5EF4-FFF2-40B4-BE49-F238E27FC236}">
                <a16:creationId xmlns:a16="http://schemas.microsoft.com/office/drawing/2014/main" id="{B69FF58E-ABAF-4EB4-8730-8F8632A6E354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8225299" y="2370900"/>
            <a:ext cx="1864213" cy="1246721"/>
          </a:xfrm>
          <a:custGeom>
            <a:avLst/>
            <a:gdLst>
              <a:gd name="T0" fmla="*/ 667 w 800"/>
              <a:gd name="T1" fmla="*/ 267 h 534"/>
              <a:gd name="T2" fmla="*/ 400 w 800"/>
              <a:gd name="T3" fmla="*/ 0 h 534"/>
              <a:gd name="T4" fmla="*/ 142 w 800"/>
              <a:gd name="T5" fmla="*/ 202 h 534"/>
              <a:gd name="T6" fmla="*/ 0 w 800"/>
              <a:gd name="T7" fmla="*/ 367 h 534"/>
              <a:gd name="T8" fmla="*/ 167 w 800"/>
              <a:gd name="T9" fmla="*/ 534 h 534"/>
              <a:gd name="T10" fmla="*/ 667 w 800"/>
              <a:gd name="T11" fmla="*/ 534 h 534"/>
              <a:gd name="T12" fmla="*/ 800 w 800"/>
              <a:gd name="T13" fmla="*/ 400 h 534"/>
              <a:gd name="T14" fmla="*/ 667 w 800"/>
              <a:gd name="T15" fmla="*/ 267 h 5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00" h="534">
                <a:moveTo>
                  <a:pt x="667" y="267"/>
                </a:moveTo>
                <a:cubicBezTo>
                  <a:pt x="667" y="120"/>
                  <a:pt x="548" y="0"/>
                  <a:pt x="400" y="0"/>
                </a:cubicBezTo>
                <a:cubicBezTo>
                  <a:pt x="275" y="0"/>
                  <a:pt x="171" y="86"/>
                  <a:pt x="142" y="202"/>
                </a:cubicBezTo>
                <a:cubicBezTo>
                  <a:pt x="62" y="215"/>
                  <a:pt x="0" y="284"/>
                  <a:pt x="0" y="367"/>
                </a:cubicBezTo>
                <a:cubicBezTo>
                  <a:pt x="0" y="459"/>
                  <a:pt x="75" y="534"/>
                  <a:pt x="167" y="534"/>
                </a:cubicBezTo>
                <a:lnTo>
                  <a:pt x="667" y="534"/>
                </a:lnTo>
                <a:cubicBezTo>
                  <a:pt x="741" y="534"/>
                  <a:pt x="800" y="474"/>
                  <a:pt x="800" y="400"/>
                </a:cubicBezTo>
                <a:cubicBezTo>
                  <a:pt x="800" y="327"/>
                  <a:pt x="741" y="267"/>
                  <a:pt x="667" y="26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75" name="Freeform: Shape 174">
            <a:extLst>
              <a:ext uri="{FF2B5EF4-FFF2-40B4-BE49-F238E27FC236}">
                <a16:creationId xmlns:a16="http://schemas.microsoft.com/office/drawing/2014/main" id="{DFA9A47B-6FFE-4F4B-B126-F94F5F3EC275}"/>
              </a:ext>
            </a:extLst>
          </p:cNvPr>
          <p:cNvSpPr/>
          <p:nvPr/>
        </p:nvSpPr>
        <p:spPr>
          <a:xfrm>
            <a:off x="-551334" y="2787704"/>
            <a:ext cx="10987987" cy="2092696"/>
          </a:xfrm>
          <a:custGeom>
            <a:avLst/>
            <a:gdLst>
              <a:gd name="connsiteX0" fmla="*/ 44370 w 11011447"/>
              <a:gd name="connsiteY0" fmla="*/ 1829023 h 2404194"/>
              <a:gd name="connsiteX1" fmla="*/ 984170 w 11011447"/>
              <a:gd name="connsiteY1" fmla="*/ 1232123 h 2404194"/>
              <a:gd name="connsiteX2" fmla="*/ 2393870 w 11011447"/>
              <a:gd name="connsiteY2" fmla="*/ 990823 h 2404194"/>
              <a:gd name="connsiteX3" fmla="*/ 4121070 w 11011447"/>
              <a:gd name="connsiteY3" fmla="*/ 1524223 h 2404194"/>
              <a:gd name="connsiteX4" fmla="*/ 4692570 w 11011447"/>
              <a:gd name="connsiteY4" fmla="*/ 1702023 h 2404194"/>
              <a:gd name="connsiteX5" fmla="*/ 5416470 w 11011447"/>
              <a:gd name="connsiteY5" fmla="*/ 1460723 h 2404194"/>
              <a:gd name="connsiteX6" fmla="*/ 6127670 w 11011447"/>
              <a:gd name="connsiteY6" fmla="*/ 1321023 h 2404194"/>
              <a:gd name="connsiteX7" fmla="*/ 6572170 w 11011447"/>
              <a:gd name="connsiteY7" fmla="*/ 1562323 h 2404194"/>
              <a:gd name="connsiteX8" fmla="*/ 7727870 w 11011447"/>
              <a:gd name="connsiteY8" fmla="*/ 673323 h 2404194"/>
              <a:gd name="connsiteX9" fmla="*/ 9886870 w 11011447"/>
              <a:gd name="connsiteY9" fmla="*/ 51023 h 2404194"/>
              <a:gd name="connsiteX10" fmla="*/ 10509170 w 11011447"/>
              <a:gd name="connsiteY10" fmla="*/ 2044923 h 2404194"/>
              <a:gd name="connsiteX11" fmla="*/ 2419270 w 11011447"/>
              <a:gd name="connsiteY11" fmla="*/ 2387823 h 2404194"/>
              <a:gd name="connsiteX12" fmla="*/ 44370 w 11011447"/>
              <a:gd name="connsiteY12" fmla="*/ 1829023 h 2404194"/>
              <a:gd name="connsiteX0" fmla="*/ 44370 w 11011447"/>
              <a:gd name="connsiteY0" fmla="*/ 1829023 h 2404194"/>
              <a:gd name="connsiteX1" fmla="*/ 984170 w 11011447"/>
              <a:gd name="connsiteY1" fmla="*/ 1232123 h 2404194"/>
              <a:gd name="connsiteX2" fmla="*/ 2393870 w 11011447"/>
              <a:gd name="connsiteY2" fmla="*/ 990823 h 2404194"/>
              <a:gd name="connsiteX3" fmla="*/ 4121070 w 11011447"/>
              <a:gd name="connsiteY3" fmla="*/ 1524223 h 2404194"/>
              <a:gd name="connsiteX4" fmla="*/ 4692570 w 11011447"/>
              <a:gd name="connsiteY4" fmla="*/ 1702023 h 2404194"/>
              <a:gd name="connsiteX5" fmla="*/ 5416470 w 11011447"/>
              <a:gd name="connsiteY5" fmla="*/ 1460723 h 2404194"/>
              <a:gd name="connsiteX6" fmla="*/ 6305470 w 11011447"/>
              <a:gd name="connsiteY6" fmla="*/ 1194023 h 2404194"/>
              <a:gd name="connsiteX7" fmla="*/ 6572170 w 11011447"/>
              <a:gd name="connsiteY7" fmla="*/ 1562323 h 2404194"/>
              <a:gd name="connsiteX8" fmla="*/ 7727870 w 11011447"/>
              <a:gd name="connsiteY8" fmla="*/ 673323 h 2404194"/>
              <a:gd name="connsiteX9" fmla="*/ 9886870 w 11011447"/>
              <a:gd name="connsiteY9" fmla="*/ 51023 h 2404194"/>
              <a:gd name="connsiteX10" fmla="*/ 10509170 w 11011447"/>
              <a:gd name="connsiteY10" fmla="*/ 2044923 h 2404194"/>
              <a:gd name="connsiteX11" fmla="*/ 2419270 w 11011447"/>
              <a:gd name="connsiteY11" fmla="*/ 2387823 h 2404194"/>
              <a:gd name="connsiteX12" fmla="*/ 44370 w 11011447"/>
              <a:gd name="connsiteY12" fmla="*/ 1829023 h 2404194"/>
              <a:gd name="connsiteX0" fmla="*/ 44370 w 11011447"/>
              <a:gd name="connsiteY0" fmla="*/ 1826671 h 2401842"/>
              <a:gd name="connsiteX1" fmla="*/ 984170 w 11011447"/>
              <a:gd name="connsiteY1" fmla="*/ 1229771 h 2401842"/>
              <a:gd name="connsiteX2" fmla="*/ 2393870 w 11011447"/>
              <a:gd name="connsiteY2" fmla="*/ 988471 h 2401842"/>
              <a:gd name="connsiteX3" fmla="*/ 4121070 w 11011447"/>
              <a:gd name="connsiteY3" fmla="*/ 1521871 h 2401842"/>
              <a:gd name="connsiteX4" fmla="*/ 4692570 w 11011447"/>
              <a:gd name="connsiteY4" fmla="*/ 1699671 h 2401842"/>
              <a:gd name="connsiteX5" fmla="*/ 5416470 w 11011447"/>
              <a:gd name="connsiteY5" fmla="*/ 1458371 h 2401842"/>
              <a:gd name="connsiteX6" fmla="*/ 6305470 w 11011447"/>
              <a:gd name="connsiteY6" fmla="*/ 1191671 h 2401842"/>
              <a:gd name="connsiteX7" fmla="*/ 6826170 w 11011447"/>
              <a:gd name="connsiteY7" fmla="*/ 1318671 h 2401842"/>
              <a:gd name="connsiteX8" fmla="*/ 7727870 w 11011447"/>
              <a:gd name="connsiteY8" fmla="*/ 670971 h 2401842"/>
              <a:gd name="connsiteX9" fmla="*/ 9886870 w 11011447"/>
              <a:gd name="connsiteY9" fmla="*/ 48671 h 2401842"/>
              <a:gd name="connsiteX10" fmla="*/ 10509170 w 11011447"/>
              <a:gd name="connsiteY10" fmla="*/ 2042571 h 2401842"/>
              <a:gd name="connsiteX11" fmla="*/ 2419270 w 11011447"/>
              <a:gd name="connsiteY11" fmla="*/ 2385471 h 2401842"/>
              <a:gd name="connsiteX12" fmla="*/ 44370 w 11011447"/>
              <a:gd name="connsiteY12" fmla="*/ 1826671 h 2401842"/>
              <a:gd name="connsiteX0" fmla="*/ 44370 w 11008756"/>
              <a:gd name="connsiteY0" fmla="*/ 1819961 h 2395132"/>
              <a:gd name="connsiteX1" fmla="*/ 984170 w 11008756"/>
              <a:gd name="connsiteY1" fmla="*/ 1223061 h 2395132"/>
              <a:gd name="connsiteX2" fmla="*/ 2393870 w 11008756"/>
              <a:gd name="connsiteY2" fmla="*/ 981761 h 2395132"/>
              <a:gd name="connsiteX3" fmla="*/ 4121070 w 11008756"/>
              <a:gd name="connsiteY3" fmla="*/ 1515161 h 2395132"/>
              <a:gd name="connsiteX4" fmla="*/ 4692570 w 11008756"/>
              <a:gd name="connsiteY4" fmla="*/ 1692961 h 2395132"/>
              <a:gd name="connsiteX5" fmla="*/ 5416470 w 11008756"/>
              <a:gd name="connsiteY5" fmla="*/ 1451661 h 2395132"/>
              <a:gd name="connsiteX6" fmla="*/ 6305470 w 11008756"/>
              <a:gd name="connsiteY6" fmla="*/ 1184961 h 2395132"/>
              <a:gd name="connsiteX7" fmla="*/ 6826170 w 11008756"/>
              <a:gd name="connsiteY7" fmla="*/ 1311961 h 2395132"/>
              <a:gd name="connsiteX8" fmla="*/ 7816770 w 11008756"/>
              <a:gd name="connsiteY8" fmla="*/ 727761 h 2395132"/>
              <a:gd name="connsiteX9" fmla="*/ 9886870 w 11008756"/>
              <a:gd name="connsiteY9" fmla="*/ 41961 h 2395132"/>
              <a:gd name="connsiteX10" fmla="*/ 10509170 w 11008756"/>
              <a:gd name="connsiteY10" fmla="*/ 2035861 h 2395132"/>
              <a:gd name="connsiteX11" fmla="*/ 2419270 w 11008756"/>
              <a:gd name="connsiteY11" fmla="*/ 2378761 h 2395132"/>
              <a:gd name="connsiteX12" fmla="*/ 44370 w 11008756"/>
              <a:gd name="connsiteY12" fmla="*/ 1819961 h 2395132"/>
              <a:gd name="connsiteX0" fmla="*/ 44370 w 11011381"/>
              <a:gd name="connsiteY0" fmla="*/ 1486487 h 2061658"/>
              <a:gd name="connsiteX1" fmla="*/ 984170 w 11011381"/>
              <a:gd name="connsiteY1" fmla="*/ 889587 h 2061658"/>
              <a:gd name="connsiteX2" fmla="*/ 2393870 w 11011381"/>
              <a:gd name="connsiteY2" fmla="*/ 648287 h 2061658"/>
              <a:gd name="connsiteX3" fmla="*/ 4121070 w 11011381"/>
              <a:gd name="connsiteY3" fmla="*/ 1181687 h 2061658"/>
              <a:gd name="connsiteX4" fmla="*/ 4692570 w 11011381"/>
              <a:gd name="connsiteY4" fmla="*/ 1359487 h 2061658"/>
              <a:gd name="connsiteX5" fmla="*/ 5416470 w 11011381"/>
              <a:gd name="connsiteY5" fmla="*/ 1118187 h 2061658"/>
              <a:gd name="connsiteX6" fmla="*/ 6305470 w 11011381"/>
              <a:gd name="connsiteY6" fmla="*/ 851487 h 2061658"/>
              <a:gd name="connsiteX7" fmla="*/ 6826170 w 11011381"/>
              <a:gd name="connsiteY7" fmla="*/ 978487 h 2061658"/>
              <a:gd name="connsiteX8" fmla="*/ 7816770 w 11011381"/>
              <a:gd name="connsiteY8" fmla="*/ 394287 h 2061658"/>
              <a:gd name="connsiteX9" fmla="*/ 9899570 w 11011381"/>
              <a:gd name="connsiteY9" fmla="*/ 64087 h 2061658"/>
              <a:gd name="connsiteX10" fmla="*/ 10509170 w 11011381"/>
              <a:gd name="connsiteY10" fmla="*/ 1702387 h 2061658"/>
              <a:gd name="connsiteX11" fmla="*/ 2419270 w 11011381"/>
              <a:gd name="connsiteY11" fmla="*/ 2045287 h 2061658"/>
              <a:gd name="connsiteX12" fmla="*/ 44370 w 11011381"/>
              <a:gd name="connsiteY12" fmla="*/ 1486487 h 2061658"/>
              <a:gd name="connsiteX0" fmla="*/ 44370 w 11011381"/>
              <a:gd name="connsiteY0" fmla="*/ 1486487 h 2061658"/>
              <a:gd name="connsiteX1" fmla="*/ 984170 w 11011381"/>
              <a:gd name="connsiteY1" fmla="*/ 889587 h 2061658"/>
              <a:gd name="connsiteX2" fmla="*/ 2393870 w 11011381"/>
              <a:gd name="connsiteY2" fmla="*/ 648287 h 2061658"/>
              <a:gd name="connsiteX3" fmla="*/ 4121070 w 11011381"/>
              <a:gd name="connsiteY3" fmla="*/ 1181687 h 2061658"/>
              <a:gd name="connsiteX4" fmla="*/ 4870370 w 11011381"/>
              <a:gd name="connsiteY4" fmla="*/ 737187 h 2061658"/>
              <a:gd name="connsiteX5" fmla="*/ 5416470 w 11011381"/>
              <a:gd name="connsiteY5" fmla="*/ 1118187 h 2061658"/>
              <a:gd name="connsiteX6" fmla="*/ 6305470 w 11011381"/>
              <a:gd name="connsiteY6" fmla="*/ 851487 h 2061658"/>
              <a:gd name="connsiteX7" fmla="*/ 6826170 w 11011381"/>
              <a:gd name="connsiteY7" fmla="*/ 978487 h 2061658"/>
              <a:gd name="connsiteX8" fmla="*/ 7816770 w 11011381"/>
              <a:gd name="connsiteY8" fmla="*/ 394287 h 2061658"/>
              <a:gd name="connsiteX9" fmla="*/ 9899570 w 11011381"/>
              <a:gd name="connsiteY9" fmla="*/ 64087 h 2061658"/>
              <a:gd name="connsiteX10" fmla="*/ 10509170 w 11011381"/>
              <a:gd name="connsiteY10" fmla="*/ 1702387 h 2061658"/>
              <a:gd name="connsiteX11" fmla="*/ 2419270 w 11011381"/>
              <a:gd name="connsiteY11" fmla="*/ 2045287 h 2061658"/>
              <a:gd name="connsiteX12" fmla="*/ 44370 w 11011381"/>
              <a:gd name="connsiteY12" fmla="*/ 1486487 h 2061658"/>
              <a:gd name="connsiteX0" fmla="*/ 44370 w 11011381"/>
              <a:gd name="connsiteY0" fmla="*/ 1486487 h 2061658"/>
              <a:gd name="connsiteX1" fmla="*/ 984170 w 11011381"/>
              <a:gd name="connsiteY1" fmla="*/ 889587 h 2061658"/>
              <a:gd name="connsiteX2" fmla="*/ 2393870 w 11011381"/>
              <a:gd name="connsiteY2" fmla="*/ 648287 h 2061658"/>
              <a:gd name="connsiteX3" fmla="*/ 4057570 w 11011381"/>
              <a:gd name="connsiteY3" fmla="*/ 1092787 h 2061658"/>
              <a:gd name="connsiteX4" fmla="*/ 4870370 w 11011381"/>
              <a:gd name="connsiteY4" fmla="*/ 737187 h 2061658"/>
              <a:gd name="connsiteX5" fmla="*/ 5416470 w 11011381"/>
              <a:gd name="connsiteY5" fmla="*/ 1118187 h 2061658"/>
              <a:gd name="connsiteX6" fmla="*/ 6305470 w 11011381"/>
              <a:gd name="connsiteY6" fmla="*/ 851487 h 2061658"/>
              <a:gd name="connsiteX7" fmla="*/ 6826170 w 11011381"/>
              <a:gd name="connsiteY7" fmla="*/ 978487 h 2061658"/>
              <a:gd name="connsiteX8" fmla="*/ 7816770 w 11011381"/>
              <a:gd name="connsiteY8" fmla="*/ 394287 h 2061658"/>
              <a:gd name="connsiteX9" fmla="*/ 9899570 w 11011381"/>
              <a:gd name="connsiteY9" fmla="*/ 64087 h 2061658"/>
              <a:gd name="connsiteX10" fmla="*/ 10509170 w 11011381"/>
              <a:gd name="connsiteY10" fmla="*/ 1702387 h 2061658"/>
              <a:gd name="connsiteX11" fmla="*/ 2419270 w 11011381"/>
              <a:gd name="connsiteY11" fmla="*/ 2045287 h 2061658"/>
              <a:gd name="connsiteX12" fmla="*/ 44370 w 11011381"/>
              <a:gd name="connsiteY12" fmla="*/ 1486487 h 2061658"/>
              <a:gd name="connsiteX0" fmla="*/ 42796 w 11009807"/>
              <a:gd name="connsiteY0" fmla="*/ 1486487 h 2061658"/>
              <a:gd name="connsiteX1" fmla="*/ 982596 w 11009807"/>
              <a:gd name="connsiteY1" fmla="*/ 889587 h 2061658"/>
              <a:gd name="connsiteX2" fmla="*/ 2163696 w 11009807"/>
              <a:gd name="connsiteY2" fmla="*/ 165687 h 2061658"/>
              <a:gd name="connsiteX3" fmla="*/ 4055996 w 11009807"/>
              <a:gd name="connsiteY3" fmla="*/ 1092787 h 2061658"/>
              <a:gd name="connsiteX4" fmla="*/ 4868796 w 11009807"/>
              <a:gd name="connsiteY4" fmla="*/ 737187 h 2061658"/>
              <a:gd name="connsiteX5" fmla="*/ 5414896 w 11009807"/>
              <a:gd name="connsiteY5" fmla="*/ 1118187 h 2061658"/>
              <a:gd name="connsiteX6" fmla="*/ 6303896 w 11009807"/>
              <a:gd name="connsiteY6" fmla="*/ 851487 h 2061658"/>
              <a:gd name="connsiteX7" fmla="*/ 6824596 w 11009807"/>
              <a:gd name="connsiteY7" fmla="*/ 978487 h 2061658"/>
              <a:gd name="connsiteX8" fmla="*/ 7815196 w 11009807"/>
              <a:gd name="connsiteY8" fmla="*/ 394287 h 2061658"/>
              <a:gd name="connsiteX9" fmla="*/ 9897996 w 11009807"/>
              <a:gd name="connsiteY9" fmla="*/ 64087 h 2061658"/>
              <a:gd name="connsiteX10" fmla="*/ 10507596 w 11009807"/>
              <a:gd name="connsiteY10" fmla="*/ 1702387 h 2061658"/>
              <a:gd name="connsiteX11" fmla="*/ 2417696 w 11009807"/>
              <a:gd name="connsiteY11" fmla="*/ 2045287 h 2061658"/>
              <a:gd name="connsiteX12" fmla="*/ 42796 w 11009807"/>
              <a:gd name="connsiteY12" fmla="*/ 1486487 h 2061658"/>
              <a:gd name="connsiteX0" fmla="*/ 81433 w 11048444"/>
              <a:gd name="connsiteY0" fmla="*/ 1486487 h 2061658"/>
              <a:gd name="connsiteX1" fmla="*/ 703733 w 11048444"/>
              <a:gd name="connsiteY1" fmla="*/ 559387 h 2061658"/>
              <a:gd name="connsiteX2" fmla="*/ 2202333 w 11048444"/>
              <a:gd name="connsiteY2" fmla="*/ 165687 h 2061658"/>
              <a:gd name="connsiteX3" fmla="*/ 4094633 w 11048444"/>
              <a:gd name="connsiteY3" fmla="*/ 1092787 h 2061658"/>
              <a:gd name="connsiteX4" fmla="*/ 4907433 w 11048444"/>
              <a:gd name="connsiteY4" fmla="*/ 737187 h 2061658"/>
              <a:gd name="connsiteX5" fmla="*/ 5453533 w 11048444"/>
              <a:gd name="connsiteY5" fmla="*/ 1118187 h 2061658"/>
              <a:gd name="connsiteX6" fmla="*/ 6342533 w 11048444"/>
              <a:gd name="connsiteY6" fmla="*/ 851487 h 2061658"/>
              <a:gd name="connsiteX7" fmla="*/ 6863233 w 11048444"/>
              <a:gd name="connsiteY7" fmla="*/ 978487 h 2061658"/>
              <a:gd name="connsiteX8" fmla="*/ 7853833 w 11048444"/>
              <a:gd name="connsiteY8" fmla="*/ 394287 h 2061658"/>
              <a:gd name="connsiteX9" fmla="*/ 9936633 w 11048444"/>
              <a:gd name="connsiteY9" fmla="*/ 64087 h 2061658"/>
              <a:gd name="connsiteX10" fmla="*/ 10546233 w 11048444"/>
              <a:gd name="connsiteY10" fmla="*/ 1702387 h 2061658"/>
              <a:gd name="connsiteX11" fmla="*/ 2456333 w 11048444"/>
              <a:gd name="connsiteY11" fmla="*/ 2045287 h 2061658"/>
              <a:gd name="connsiteX12" fmla="*/ 81433 w 11048444"/>
              <a:gd name="connsiteY12" fmla="*/ 1486487 h 2061658"/>
              <a:gd name="connsiteX0" fmla="*/ 81433 w 11031151"/>
              <a:gd name="connsiteY0" fmla="*/ 1456358 h 2031529"/>
              <a:gd name="connsiteX1" fmla="*/ 703733 w 11031151"/>
              <a:gd name="connsiteY1" fmla="*/ 529258 h 2031529"/>
              <a:gd name="connsiteX2" fmla="*/ 2202333 w 11031151"/>
              <a:gd name="connsiteY2" fmla="*/ 135558 h 2031529"/>
              <a:gd name="connsiteX3" fmla="*/ 4094633 w 11031151"/>
              <a:gd name="connsiteY3" fmla="*/ 1062658 h 2031529"/>
              <a:gd name="connsiteX4" fmla="*/ 4907433 w 11031151"/>
              <a:gd name="connsiteY4" fmla="*/ 707058 h 2031529"/>
              <a:gd name="connsiteX5" fmla="*/ 5453533 w 11031151"/>
              <a:gd name="connsiteY5" fmla="*/ 1088058 h 2031529"/>
              <a:gd name="connsiteX6" fmla="*/ 6342533 w 11031151"/>
              <a:gd name="connsiteY6" fmla="*/ 821358 h 2031529"/>
              <a:gd name="connsiteX7" fmla="*/ 6863233 w 11031151"/>
              <a:gd name="connsiteY7" fmla="*/ 948358 h 2031529"/>
              <a:gd name="connsiteX8" fmla="*/ 8438033 w 11031151"/>
              <a:gd name="connsiteY8" fmla="*/ 592758 h 2031529"/>
              <a:gd name="connsiteX9" fmla="*/ 9936633 w 11031151"/>
              <a:gd name="connsiteY9" fmla="*/ 33958 h 2031529"/>
              <a:gd name="connsiteX10" fmla="*/ 10546233 w 11031151"/>
              <a:gd name="connsiteY10" fmla="*/ 1672258 h 2031529"/>
              <a:gd name="connsiteX11" fmla="*/ 2456333 w 11031151"/>
              <a:gd name="connsiteY11" fmla="*/ 2015158 h 2031529"/>
              <a:gd name="connsiteX12" fmla="*/ 81433 w 11031151"/>
              <a:gd name="connsiteY12" fmla="*/ 1456358 h 2031529"/>
              <a:gd name="connsiteX0" fmla="*/ 81433 w 10987987"/>
              <a:gd name="connsiteY0" fmla="*/ 1517525 h 2092696"/>
              <a:gd name="connsiteX1" fmla="*/ 703733 w 10987987"/>
              <a:gd name="connsiteY1" fmla="*/ 590425 h 2092696"/>
              <a:gd name="connsiteX2" fmla="*/ 2202333 w 10987987"/>
              <a:gd name="connsiteY2" fmla="*/ 196725 h 2092696"/>
              <a:gd name="connsiteX3" fmla="*/ 4094633 w 10987987"/>
              <a:gd name="connsiteY3" fmla="*/ 1123825 h 2092696"/>
              <a:gd name="connsiteX4" fmla="*/ 4907433 w 10987987"/>
              <a:gd name="connsiteY4" fmla="*/ 768225 h 2092696"/>
              <a:gd name="connsiteX5" fmla="*/ 5453533 w 10987987"/>
              <a:gd name="connsiteY5" fmla="*/ 1149225 h 2092696"/>
              <a:gd name="connsiteX6" fmla="*/ 6342533 w 10987987"/>
              <a:gd name="connsiteY6" fmla="*/ 882525 h 2092696"/>
              <a:gd name="connsiteX7" fmla="*/ 6863233 w 10987987"/>
              <a:gd name="connsiteY7" fmla="*/ 1009525 h 2092696"/>
              <a:gd name="connsiteX8" fmla="*/ 8438033 w 10987987"/>
              <a:gd name="connsiteY8" fmla="*/ 653925 h 2092696"/>
              <a:gd name="connsiteX9" fmla="*/ 9695333 w 10987987"/>
              <a:gd name="connsiteY9" fmla="*/ 31625 h 2092696"/>
              <a:gd name="connsiteX10" fmla="*/ 10546233 w 10987987"/>
              <a:gd name="connsiteY10" fmla="*/ 1733425 h 2092696"/>
              <a:gd name="connsiteX11" fmla="*/ 2456333 w 10987987"/>
              <a:gd name="connsiteY11" fmla="*/ 2076325 h 2092696"/>
              <a:gd name="connsiteX12" fmla="*/ 81433 w 10987987"/>
              <a:gd name="connsiteY12" fmla="*/ 1517525 h 2092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987987" h="2092696">
                <a:moveTo>
                  <a:pt x="81433" y="1517525"/>
                </a:moveTo>
                <a:cubicBezTo>
                  <a:pt x="-210667" y="1269875"/>
                  <a:pt x="350250" y="810558"/>
                  <a:pt x="703733" y="590425"/>
                </a:cubicBezTo>
                <a:cubicBezTo>
                  <a:pt x="1057216" y="370292"/>
                  <a:pt x="1637183" y="107825"/>
                  <a:pt x="2202333" y="196725"/>
                </a:cubicBezTo>
                <a:cubicBezTo>
                  <a:pt x="2767483" y="285625"/>
                  <a:pt x="3643783" y="1028575"/>
                  <a:pt x="4094633" y="1123825"/>
                </a:cubicBezTo>
                <a:cubicBezTo>
                  <a:pt x="4545483" y="1219075"/>
                  <a:pt x="4680950" y="763992"/>
                  <a:pt x="4907433" y="768225"/>
                </a:cubicBezTo>
                <a:cubicBezTo>
                  <a:pt x="5133916" y="772458"/>
                  <a:pt x="5214350" y="1130175"/>
                  <a:pt x="5453533" y="1149225"/>
                </a:cubicBezTo>
                <a:cubicBezTo>
                  <a:pt x="5692716" y="1168275"/>
                  <a:pt x="6107583" y="905808"/>
                  <a:pt x="6342533" y="882525"/>
                </a:cubicBezTo>
                <a:cubicBezTo>
                  <a:pt x="6577483" y="859242"/>
                  <a:pt x="6513983" y="1047625"/>
                  <a:pt x="6863233" y="1009525"/>
                </a:cubicBezTo>
                <a:cubicBezTo>
                  <a:pt x="7212483" y="971425"/>
                  <a:pt x="7966016" y="816908"/>
                  <a:pt x="8438033" y="653925"/>
                </a:cubicBezTo>
                <a:cubicBezTo>
                  <a:pt x="8910050" y="490942"/>
                  <a:pt x="9343966" y="-148292"/>
                  <a:pt x="9695333" y="31625"/>
                </a:cubicBezTo>
                <a:cubicBezTo>
                  <a:pt x="10046700" y="211542"/>
                  <a:pt x="11790833" y="1343958"/>
                  <a:pt x="10546233" y="1733425"/>
                </a:cubicBezTo>
                <a:cubicBezTo>
                  <a:pt x="9301633" y="2122892"/>
                  <a:pt x="4202583" y="2112308"/>
                  <a:pt x="2456333" y="2076325"/>
                </a:cubicBezTo>
                <a:cubicBezTo>
                  <a:pt x="710083" y="2040342"/>
                  <a:pt x="373533" y="1765175"/>
                  <a:pt x="81433" y="1517525"/>
                </a:cubicBezTo>
                <a:close/>
              </a:path>
            </a:pathLst>
          </a:custGeom>
          <a:gradFill>
            <a:gsLst>
              <a:gs pos="39000">
                <a:schemeClr val="accent2"/>
              </a:gs>
              <a:gs pos="100000">
                <a:srgbClr val="2574A9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Trapezoid 155">
            <a:extLst>
              <a:ext uri="{FF2B5EF4-FFF2-40B4-BE49-F238E27FC236}">
                <a16:creationId xmlns:a16="http://schemas.microsoft.com/office/drawing/2014/main" id="{BB9154CF-1B7F-4096-A7DC-64F6D98F81F1}"/>
              </a:ext>
            </a:extLst>
          </p:cNvPr>
          <p:cNvSpPr/>
          <p:nvPr/>
        </p:nvSpPr>
        <p:spPr>
          <a:xfrm>
            <a:off x="1473789" y="2422734"/>
            <a:ext cx="662130" cy="2139402"/>
          </a:xfrm>
          <a:prstGeom prst="trapezoid">
            <a:avLst/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26B85388-BEC0-4B5C-ABAA-5EE712D95303}"/>
              </a:ext>
            </a:extLst>
          </p:cNvPr>
          <p:cNvGrpSpPr/>
          <p:nvPr/>
        </p:nvGrpSpPr>
        <p:grpSpPr>
          <a:xfrm>
            <a:off x="1335505" y="3298425"/>
            <a:ext cx="807576" cy="1444336"/>
            <a:chOff x="1612894" y="2168471"/>
            <a:chExt cx="807576" cy="1444336"/>
          </a:xfrm>
        </p:grpSpPr>
        <p:sp>
          <p:nvSpPr>
            <p:cNvPr id="139" name="Parallelogram 138">
              <a:extLst>
                <a:ext uri="{FF2B5EF4-FFF2-40B4-BE49-F238E27FC236}">
                  <a16:creationId xmlns:a16="http://schemas.microsoft.com/office/drawing/2014/main" id="{CD21BD55-0822-409F-8E2F-4E022483015C}"/>
                </a:ext>
              </a:extLst>
            </p:cNvPr>
            <p:cNvSpPr/>
            <p:nvPr/>
          </p:nvSpPr>
          <p:spPr>
            <a:xfrm rot="5400000">
              <a:off x="1496408" y="2688745"/>
              <a:ext cx="1444336" cy="403788"/>
            </a:xfrm>
            <a:prstGeom prst="parallelogram">
              <a:avLst/>
            </a:prstGeom>
            <a:solidFill>
              <a:srgbClr val="3498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Parallelogram 139">
              <a:extLst>
                <a:ext uri="{FF2B5EF4-FFF2-40B4-BE49-F238E27FC236}">
                  <a16:creationId xmlns:a16="http://schemas.microsoft.com/office/drawing/2014/main" id="{283ACB81-F977-4270-9B1C-532A906B6C53}"/>
                </a:ext>
              </a:extLst>
            </p:cNvPr>
            <p:cNvSpPr/>
            <p:nvPr/>
          </p:nvSpPr>
          <p:spPr>
            <a:xfrm rot="16200000" flipH="1">
              <a:off x="1092620" y="2688745"/>
              <a:ext cx="1444336" cy="403788"/>
            </a:xfrm>
            <a:prstGeom prst="parallelogram">
              <a:avLst/>
            </a:prstGeom>
            <a:solidFill>
              <a:srgbClr val="2574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82DCCA1-871D-4BA5-A2E6-6C879FB71FB4}"/>
              </a:ext>
            </a:extLst>
          </p:cNvPr>
          <p:cNvGrpSpPr/>
          <p:nvPr/>
        </p:nvGrpSpPr>
        <p:grpSpPr>
          <a:xfrm>
            <a:off x="145752" y="514531"/>
            <a:ext cx="714051" cy="4725100"/>
            <a:chOff x="4121146" y="622299"/>
            <a:chExt cx="914400" cy="4350533"/>
          </a:xfrm>
          <a:solidFill>
            <a:srgbClr val="2574A9"/>
          </a:solidFill>
        </p:grpSpPr>
        <p:sp>
          <p:nvSpPr>
            <p:cNvPr id="131" name="Trapezoid 130">
              <a:extLst>
                <a:ext uri="{FF2B5EF4-FFF2-40B4-BE49-F238E27FC236}">
                  <a16:creationId xmlns:a16="http://schemas.microsoft.com/office/drawing/2014/main" id="{7EEE8676-591F-4424-A6B8-6D4C5AB1FAC4}"/>
                </a:ext>
              </a:extLst>
            </p:cNvPr>
            <p:cNvSpPr/>
            <p:nvPr/>
          </p:nvSpPr>
          <p:spPr>
            <a:xfrm>
              <a:off x="4322183" y="1885167"/>
              <a:ext cx="499633" cy="3087665"/>
            </a:xfrm>
            <a:prstGeom prst="trapezoid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64D517C2-63C7-42C2-9A82-C3FF511FADF7}"/>
                </a:ext>
              </a:extLst>
            </p:cNvPr>
            <p:cNvCxnSpPr>
              <a:cxnSpLocks/>
            </p:cNvCxnSpPr>
            <p:nvPr/>
          </p:nvCxnSpPr>
          <p:spPr>
            <a:xfrm>
              <a:off x="4343400" y="1828800"/>
              <a:ext cx="457200" cy="0"/>
            </a:xfrm>
            <a:prstGeom prst="line">
              <a:avLst/>
            </a:prstGeom>
            <a:grpFill/>
            <a:ln w="63500" cap="rnd">
              <a:solidFill>
                <a:srgbClr val="3498D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261A6C64-781F-4B6C-A4E1-6BBAD14D1530}"/>
                </a:ext>
              </a:extLst>
            </p:cNvPr>
            <p:cNvCxnSpPr>
              <a:cxnSpLocks/>
            </p:cNvCxnSpPr>
            <p:nvPr/>
          </p:nvCxnSpPr>
          <p:spPr>
            <a:xfrm>
              <a:off x="4229098" y="1746250"/>
              <a:ext cx="685800" cy="0"/>
            </a:xfrm>
            <a:prstGeom prst="line">
              <a:avLst/>
            </a:prstGeom>
            <a:grpFill/>
            <a:ln w="63500" cap="rnd">
              <a:solidFill>
                <a:srgbClr val="3498D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A9831FA-1508-47E8-B7A4-3723312F01D0}"/>
                </a:ext>
              </a:extLst>
            </p:cNvPr>
            <p:cNvCxnSpPr>
              <a:cxnSpLocks/>
            </p:cNvCxnSpPr>
            <p:nvPr/>
          </p:nvCxnSpPr>
          <p:spPr>
            <a:xfrm>
              <a:off x="4121146" y="1663700"/>
              <a:ext cx="914400" cy="0"/>
            </a:xfrm>
            <a:prstGeom prst="line">
              <a:avLst/>
            </a:prstGeom>
            <a:grpFill/>
            <a:ln w="63500" cap="rnd">
              <a:solidFill>
                <a:srgbClr val="3498D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Rectangle 134">
              <a:extLst>
                <a:ext uri="{FF2B5EF4-FFF2-40B4-BE49-F238E27FC236}">
                  <a16:creationId xmlns:a16="http://schemas.microsoft.com/office/drawing/2014/main" id="{F235646C-2A60-4BF2-9067-7F838FF749D4}"/>
                </a:ext>
              </a:extLst>
            </p:cNvPr>
            <p:cNvSpPr/>
            <p:nvPr/>
          </p:nvSpPr>
          <p:spPr>
            <a:xfrm>
              <a:off x="4121146" y="1241440"/>
              <a:ext cx="914400" cy="36193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4B51B0D7-188E-4985-AB4D-18C4F99E1286}"/>
                </a:ext>
              </a:extLst>
            </p:cNvPr>
            <p:cNvSpPr/>
            <p:nvPr/>
          </p:nvSpPr>
          <p:spPr>
            <a:xfrm>
              <a:off x="4235444" y="1178894"/>
              <a:ext cx="679454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885A40BA-F0A2-4782-BE23-AAEDAB1B6504}"/>
                </a:ext>
              </a:extLst>
            </p:cNvPr>
            <p:cNvSpPr/>
            <p:nvPr/>
          </p:nvSpPr>
          <p:spPr>
            <a:xfrm flipV="1">
              <a:off x="4343400" y="1113172"/>
              <a:ext cx="467885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Isosceles Triangle 137">
              <a:extLst>
                <a:ext uri="{FF2B5EF4-FFF2-40B4-BE49-F238E27FC236}">
                  <a16:creationId xmlns:a16="http://schemas.microsoft.com/office/drawing/2014/main" id="{AAE64B53-1234-4018-8309-48CF5ADA11A7}"/>
                </a:ext>
              </a:extLst>
            </p:cNvPr>
            <p:cNvSpPr/>
            <p:nvPr/>
          </p:nvSpPr>
          <p:spPr>
            <a:xfrm>
              <a:off x="4514848" y="622299"/>
              <a:ext cx="114300" cy="47087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EB33F8E2-BA3A-436D-9493-423117D1BD8A}"/>
              </a:ext>
            </a:extLst>
          </p:cNvPr>
          <p:cNvSpPr/>
          <p:nvPr/>
        </p:nvSpPr>
        <p:spPr>
          <a:xfrm>
            <a:off x="279774" y="2709321"/>
            <a:ext cx="581891" cy="1837280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049463-D127-4818-AF5D-82F9E2196372}"/>
              </a:ext>
            </a:extLst>
          </p:cNvPr>
          <p:cNvSpPr/>
          <p:nvPr/>
        </p:nvSpPr>
        <p:spPr>
          <a:xfrm>
            <a:off x="342986" y="2780759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AE5AA46-C3EE-44B2-9795-4C7A76FA42E5}"/>
              </a:ext>
            </a:extLst>
          </p:cNvPr>
          <p:cNvSpPr/>
          <p:nvPr/>
        </p:nvSpPr>
        <p:spPr>
          <a:xfrm>
            <a:off x="685234" y="2780759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893FAB-6A6E-4FDB-9CF2-042860FDE054}"/>
              </a:ext>
            </a:extLst>
          </p:cNvPr>
          <p:cNvSpPr/>
          <p:nvPr/>
        </p:nvSpPr>
        <p:spPr>
          <a:xfrm>
            <a:off x="342986" y="2950803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DA5C652-32FC-4D8B-91E5-183446D4295F}"/>
              </a:ext>
            </a:extLst>
          </p:cNvPr>
          <p:cNvSpPr/>
          <p:nvPr/>
        </p:nvSpPr>
        <p:spPr>
          <a:xfrm>
            <a:off x="515842" y="2950803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059128B-7768-451E-9B34-DC2EFCDEEADF}"/>
              </a:ext>
            </a:extLst>
          </p:cNvPr>
          <p:cNvSpPr/>
          <p:nvPr/>
        </p:nvSpPr>
        <p:spPr>
          <a:xfrm>
            <a:off x="685234" y="2950803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59C14A3-F1AF-4222-B216-37C2913B663A}"/>
              </a:ext>
            </a:extLst>
          </p:cNvPr>
          <p:cNvSpPr/>
          <p:nvPr/>
        </p:nvSpPr>
        <p:spPr>
          <a:xfrm>
            <a:off x="515842" y="3116027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A19795-16F5-4910-B071-E657ACF149B6}"/>
              </a:ext>
            </a:extLst>
          </p:cNvPr>
          <p:cNvSpPr/>
          <p:nvPr/>
        </p:nvSpPr>
        <p:spPr>
          <a:xfrm>
            <a:off x="685234" y="3116027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C3DB073-317F-4AE3-843E-E5A100EE6355}"/>
              </a:ext>
            </a:extLst>
          </p:cNvPr>
          <p:cNvSpPr/>
          <p:nvPr/>
        </p:nvSpPr>
        <p:spPr>
          <a:xfrm>
            <a:off x="342986" y="3286071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2AE13CE-D2D4-4C1F-8C68-A915E6CB8BAE}"/>
              </a:ext>
            </a:extLst>
          </p:cNvPr>
          <p:cNvSpPr/>
          <p:nvPr/>
        </p:nvSpPr>
        <p:spPr>
          <a:xfrm>
            <a:off x="515842" y="3286071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6A3ACA7-423E-4942-9792-A8AFAB970897}"/>
              </a:ext>
            </a:extLst>
          </p:cNvPr>
          <p:cNvSpPr/>
          <p:nvPr/>
        </p:nvSpPr>
        <p:spPr>
          <a:xfrm>
            <a:off x="685234" y="3286071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3DD6DDF-D083-40FA-98C9-613B9B52974E}"/>
              </a:ext>
            </a:extLst>
          </p:cNvPr>
          <p:cNvSpPr/>
          <p:nvPr/>
        </p:nvSpPr>
        <p:spPr>
          <a:xfrm>
            <a:off x="342986" y="3453247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3AEB8A6-75E6-49A7-95FA-ECC17552621E}"/>
              </a:ext>
            </a:extLst>
          </p:cNvPr>
          <p:cNvSpPr/>
          <p:nvPr/>
        </p:nvSpPr>
        <p:spPr>
          <a:xfrm>
            <a:off x="515842" y="3453247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A4B7E8B-C246-49ED-9CDA-7C33A8A0802F}"/>
              </a:ext>
            </a:extLst>
          </p:cNvPr>
          <p:cNvSpPr/>
          <p:nvPr/>
        </p:nvSpPr>
        <p:spPr>
          <a:xfrm>
            <a:off x="685234" y="3453247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FD870C1-22B7-419C-8525-8476D87C5E5B}"/>
              </a:ext>
            </a:extLst>
          </p:cNvPr>
          <p:cNvSpPr/>
          <p:nvPr/>
        </p:nvSpPr>
        <p:spPr>
          <a:xfrm>
            <a:off x="342986" y="3623291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C433ACB-C737-46A5-952B-1993AC649704}"/>
              </a:ext>
            </a:extLst>
          </p:cNvPr>
          <p:cNvSpPr/>
          <p:nvPr/>
        </p:nvSpPr>
        <p:spPr>
          <a:xfrm>
            <a:off x="685234" y="3623291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CBC039C-7C15-4906-BB78-D5F805C04231}"/>
              </a:ext>
            </a:extLst>
          </p:cNvPr>
          <p:cNvSpPr/>
          <p:nvPr/>
        </p:nvSpPr>
        <p:spPr>
          <a:xfrm>
            <a:off x="13650" y="2709321"/>
            <a:ext cx="262659" cy="1837280"/>
          </a:xfrm>
          <a:prstGeom prst="rect">
            <a:avLst/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7D0D92B-82F9-4E19-91B2-F400C36A075E}"/>
              </a:ext>
            </a:extLst>
          </p:cNvPr>
          <p:cNvSpPr/>
          <p:nvPr/>
        </p:nvSpPr>
        <p:spPr>
          <a:xfrm>
            <a:off x="342986" y="3793335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C669167-CA94-4085-BCED-73E08E98F2C8}"/>
              </a:ext>
            </a:extLst>
          </p:cNvPr>
          <p:cNvSpPr/>
          <p:nvPr/>
        </p:nvSpPr>
        <p:spPr>
          <a:xfrm>
            <a:off x="685234" y="3793335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745281F-A88E-4343-AC13-93D75346ED8C}"/>
              </a:ext>
            </a:extLst>
          </p:cNvPr>
          <p:cNvSpPr/>
          <p:nvPr/>
        </p:nvSpPr>
        <p:spPr>
          <a:xfrm>
            <a:off x="342986" y="3963379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36C8EA5-E284-46D8-AC65-2CAFBE697137}"/>
              </a:ext>
            </a:extLst>
          </p:cNvPr>
          <p:cNvSpPr/>
          <p:nvPr/>
        </p:nvSpPr>
        <p:spPr>
          <a:xfrm>
            <a:off x="515842" y="3963379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AD4205CF-58AF-4851-A5DD-A4394166D07E}"/>
              </a:ext>
            </a:extLst>
          </p:cNvPr>
          <p:cNvSpPr/>
          <p:nvPr/>
        </p:nvSpPr>
        <p:spPr>
          <a:xfrm>
            <a:off x="685234" y="3963379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A287512-D379-4B43-B366-E5AC30FAE38E}"/>
              </a:ext>
            </a:extLst>
          </p:cNvPr>
          <p:cNvSpPr/>
          <p:nvPr/>
        </p:nvSpPr>
        <p:spPr>
          <a:xfrm>
            <a:off x="342986" y="4128603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BBCA098-1F17-4FFE-8B3F-C8AA94A71F7D}"/>
              </a:ext>
            </a:extLst>
          </p:cNvPr>
          <p:cNvSpPr/>
          <p:nvPr/>
        </p:nvSpPr>
        <p:spPr>
          <a:xfrm>
            <a:off x="515842" y="4128603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3D7E26E-2B72-4516-ADE0-CB70C69A321C}"/>
              </a:ext>
            </a:extLst>
          </p:cNvPr>
          <p:cNvSpPr/>
          <p:nvPr/>
        </p:nvSpPr>
        <p:spPr>
          <a:xfrm>
            <a:off x="685234" y="4128603"/>
            <a:ext cx="109754" cy="10196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E9BB7C74-F1D4-48FE-A104-B63DC6346372}"/>
              </a:ext>
            </a:extLst>
          </p:cNvPr>
          <p:cNvSpPr/>
          <p:nvPr/>
        </p:nvSpPr>
        <p:spPr>
          <a:xfrm>
            <a:off x="951358" y="2437425"/>
            <a:ext cx="581891" cy="2109175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D737F0D6-A892-49B2-9F8F-D93A7C7E94AE}"/>
              </a:ext>
            </a:extLst>
          </p:cNvPr>
          <p:cNvSpPr/>
          <p:nvPr/>
        </p:nvSpPr>
        <p:spPr>
          <a:xfrm>
            <a:off x="688409" y="2437425"/>
            <a:ext cx="262659" cy="2109175"/>
          </a:xfrm>
          <a:prstGeom prst="rect">
            <a:avLst/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84C6366A-939C-4F94-8256-268ED1FE9D7E}"/>
              </a:ext>
            </a:extLst>
          </p:cNvPr>
          <p:cNvSpPr/>
          <p:nvPr/>
        </p:nvSpPr>
        <p:spPr>
          <a:xfrm>
            <a:off x="1007531" y="2527913"/>
            <a:ext cx="45719" cy="170265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AA41E534-8A99-4938-A300-53DA582C12A4}"/>
              </a:ext>
            </a:extLst>
          </p:cNvPr>
          <p:cNvSpPr/>
          <p:nvPr/>
        </p:nvSpPr>
        <p:spPr>
          <a:xfrm>
            <a:off x="730696" y="2384883"/>
            <a:ext cx="218929" cy="57331"/>
          </a:xfrm>
          <a:prstGeom prst="rect">
            <a:avLst/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4E456FF9-2501-4EE3-90FF-46A8496923E3}"/>
              </a:ext>
            </a:extLst>
          </p:cNvPr>
          <p:cNvSpPr/>
          <p:nvPr/>
        </p:nvSpPr>
        <p:spPr>
          <a:xfrm>
            <a:off x="947893" y="2384883"/>
            <a:ext cx="538309" cy="57331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1BCC5098-36C4-49F0-ABAA-10169440195C}"/>
              </a:ext>
            </a:extLst>
          </p:cNvPr>
          <p:cNvSpPr/>
          <p:nvPr/>
        </p:nvSpPr>
        <p:spPr>
          <a:xfrm>
            <a:off x="794988" y="2329165"/>
            <a:ext cx="154637" cy="57331"/>
          </a:xfrm>
          <a:prstGeom prst="rect">
            <a:avLst/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E9A87B6D-ABC1-452F-B8A3-AFD8B0E658DB}"/>
              </a:ext>
            </a:extLst>
          </p:cNvPr>
          <p:cNvSpPr/>
          <p:nvPr/>
        </p:nvSpPr>
        <p:spPr>
          <a:xfrm>
            <a:off x="947894" y="2329165"/>
            <a:ext cx="478778" cy="57331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CF62D019-FC69-4403-8789-E7E30DC6B622}"/>
              </a:ext>
            </a:extLst>
          </p:cNvPr>
          <p:cNvSpPr/>
          <p:nvPr/>
        </p:nvSpPr>
        <p:spPr>
          <a:xfrm>
            <a:off x="861665" y="2272615"/>
            <a:ext cx="87960" cy="57331"/>
          </a:xfrm>
          <a:prstGeom prst="rect">
            <a:avLst/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1895B3E5-2067-4C3A-8853-800685BE5959}"/>
              </a:ext>
            </a:extLst>
          </p:cNvPr>
          <p:cNvSpPr/>
          <p:nvPr/>
        </p:nvSpPr>
        <p:spPr>
          <a:xfrm>
            <a:off x="947894" y="2272615"/>
            <a:ext cx="408924" cy="57331"/>
          </a:xfrm>
          <a:prstGeom prst="rect">
            <a:avLst/>
          </a:prstGeom>
          <a:solidFill>
            <a:srgbClr val="3498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A8572E3F-4A9F-4DDC-ABF0-951C07531A62}"/>
              </a:ext>
            </a:extLst>
          </p:cNvPr>
          <p:cNvSpPr/>
          <p:nvPr/>
        </p:nvSpPr>
        <p:spPr>
          <a:xfrm>
            <a:off x="1095892" y="2527913"/>
            <a:ext cx="45719" cy="170265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ADA0A7E8-FC60-434C-9385-ECA63015538B}"/>
              </a:ext>
            </a:extLst>
          </p:cNvPr>
          <p:cNvSpPr/>
          <p:nvPr/>
        </p:nvSpPr>
        <p:spPr>
          <a:xfrm>
            <a:off x="1177127" y="2527913"/>
            <a:ext cx="45719" cy="170265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839311E5-6797-430E-88AF-01F266802FC5}"/>
              </a:ext>
            </a:extLst>
          </p:cNvPr>
          <p:cNvSpPr/>
          <p:nvPr/>
        </p:nvSpPr>
        <p:spPr>
          <a:xfrm>
            <a:off x="1265488" y="2527913"/>
            <a:ext cx="45719" cy="170265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7F7A5D2-94AA-40A2-B903-20F88A470B23}"/>
              </a:ext>
            </a:extLst>
          </p:cNvPr>
          <p:cNvSpPr/>
          <p:nvPr/>
        </p:nvSpPr>
        <p:spPr>
          <a:xfrm>
            <a:off x="1350045" y="2527913"/>
            <a:ext cx="45719" cy="170265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80A6D9DF-F17E-4664-BF8D-91B0A283D931}"/>
              </a:ext>
            </a:extLst>
          </p:cNvPr>
          <p:cNvSpPr/>
          <p:nvPr/>
        </p:nvSpPr>
        <p:spPr>
          <a:xfrm>
            <a:off x="1438406" y="2527913"/>
            <a:ext cx="45719" cy="1702650"/>
          </a:xfrm>
          <a:prstGeom prst="rect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Parallelogram 141">
            <a:extLst>
              <a:ext uri="{FF2B5EF4-FFF2-40B4-BE49-F238E27FC236}">
                <a16:creationId xmlns:a16="http://schemas.microsoft.com/office/drawing/2014/main" id="{1D8F05F4-EB30-494A-809F-C37AFAFBEBEF}"/>
              </a:ext>
            </a:extLst>
          </p:cNvPr>
          <p:cNvSpPr/>
          <p:nvPr/>
        </p:nvSpPr>
        <p:spPr>
          <a:xfrm rot="845124" flipH="1">
            <a:off x="1764420" y="3394367"/>
            <a:ext cx="367297" cy="49492"/>
          </a:xfrm>
          <a:prstGeom prst="parallelogram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5" name="Parallelogram 144">
            <a:extLst>
              <a:ext uri="{FF2B5EF4-FFF2-40B4-BE49-F238E27FC236}">
                <a16:creationId xmlns:a16="http://schemas.microsoft.com/office/drawing/2014/main" id="{005F6466-F118-4128-B8D9-934A6650D940}"/>
              </a:ext>
            </a:extLst>
          </p:cNvPr>
          <p:cNvSpPr/>
          <p:nvPr/>
        </p:nvSpPr>
        <p:spPr>
          <a:xfrm rot="845124" flipH="1">
            <a:off x="1764420" y="3479482"/>
            <a:ext cx="367297" cy="49492"/>
          </a:xfrm>
          <a:prstGeom prst="parallelogram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6" name="Parallelogram 145">
            <a:extLst>
              <a:ext uri="{FF2B5EF4-FFF2-40B4-BE49-F238E27FC236}">
                <a16:creationId xmlns:a16="http://schemas.microsoft.com/office/drawing/2014/main" id="{030B4163-0B24-4012-8426-7C6575C2AB4E}"/>
              </a:ext>
            </a:extLst>
          </p:cNvPr>
          <p:cNvSpPr/>
          <p:nvPr/>
        </p:nvSpPr>
        <p:spPr>
          <a:xfrm rot="845124" flipH="1">
            <a:off x="1764421" y="3570666"/>
            <a:ext cx="367297" cy="49492"/>
          </a:xfrm>
          <a:prstGeom prst="parallelogram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Parallelogram 146">
            <a:extLst>
              <a:ext uri="{FF2B5EF4-FFF2-40B4-BE49-F238E27FC236}">
                <a16:creationId xmlns:a16="http://schemas.microsoft.com/office/drawing/2014/main" id="{3B37896A-5A9B-438C-A417-7703173D8525}"/>
              </a:ext>
            </a:extLst>
          </p:cNvPr>
          <p:cNvSpPr/>
          <p:nvPr/>
        </p:nvSpPr>
        <p:spPr>
          <a:xfrm rot="845124" flipH="1">
            <a:off x="1764421" y="3655781"/>
            <a:ext cx="367297" cy="49492"/>
          </a:xfrm>
          <a:prstGeom prst="parallelogram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Trapezoid 157">
            <a:extLst>
              <a:ext uri="{FF2B5EF4-FFF2-40B4-BE49-F238E27FC236}">
                <a16:creationId xmlns:a16="http://schemas.microsoft.com/office/drawing/2014/main" id="{C761AFCE-C86C-45FD-BB11-7178A2999EA9}"/>
              </a:ext>
            </a:extLst>
          </p:cNvPr>
          <p:cNvSpPr/>
          <p:nvPr/>
        </p:nvSpPr>
        <p:spPr>
          <a:xfrm>
            <a:off x="1665775" y="2466124"/>
            <a:ext cx="266962" cy="61789"/>
          </a:xfrm>
          <a:prstGeom prst="trapezoid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9" name="Trapezoid 158">
            <a:extLst>
              <a:ext uri="{FF2B5EF4-FFF2-40B4-BE49-F238E27FC236}">
                <a16:creationId xmlns:a16="http://schemas.microsoft.com/office/drawing/2014/main" id="{99F6667B-37C0-4C7F-AABE-056D10D291CE}"/>
              </a:ext>
            </a:extLst>
          </p:cNvPr>
          <p:cNvSpPr/>
          <p:nvPr/>
        </p:nvSpPr>
        <p:spPr>
          <a:xfrm>
            <a:off x="1665775" y="2566818"/>
            <a:ext cx="266962" cy="61789"/>
          </a:xfrm>
          <a:prstGeom prst="trapezoid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Trapezoid 159">
            <a:extLst>
              <a:ext uri="{FF2B5EF4-FFF2-40B4-BE49-F238E27FC236}">
                <a16:creationId xmlns:a16="http://schemas.microsoft.com/office/drawing/2014/main" id="{671FDBA3-3230-4A33-9C63-CBC5D9D4E8B3}"/>
              </a:ext>
            </a:extLst>
          </p:cNvPr>
          <p:cNvSpPr/>
          <p:nvPr/>
        </p:nvSpPr>
        <p:spPr>
          <a:xfrm>
            <a:off x="1665775" y="2673865"/>
            <a:ext cx="266962" cy="61789"/>
          </a:xfrm>
          <a:prstGeom prst="trapezoid">
            <a:avLst/>
          </a:prstGeom>
          <a:solidFill>
            <a:srgbClr val="89C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Isosceles Triangle 162">
            <a:extLst>
              <a:ext uri="{FF2B5EF4-FFF2-40B4-BE49-F238E27FC236}">
                <a16:creationId xmlns:a16="http://schemas.microsoft.com/office/drawing/2014/main" id="{460E5C86-CFA6-4D4B-8B25-3EF65EDABE17}"/>
              </a:ext>
            </a:extLst>
          </p:cNvPr>
          <p:cNvSpPr/>
          <p:nvPr/>
        </p:nvSpPr>
        <p:spPr>
          <a:xfrm>
            <a:off x="1640464" y="2064395"/>
            <a:ext cx="330074" cy="359218"/>
          </a:xfrm>
          <a:prstGeom prst="triangle">
            <a:avLst>
              <a:gd name="adj" fmla="val 48558"/>
            </a:avLst>
          </a:prstGeom>
          <a:solidFill>
            <a:srgbClr val="2574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7730E19-C337-4C4C-BC6D-E18D10D4615E}"/>
              </a:ext>
            </a:extLst>
          </p:cNvPr>
          <p:cNvSpPr/>
          <p:nvPr/>
        </p:nvSpPr>
        <p:spPr>
          <a:xfrm>
            <a:off x="0" y="4350320"/>
            <a:ext cx="9144000" cy="2507679"/>
          </a:xfrm>
          <a:prstGeom prst="rect">
            <a:avLst/>
          </a:prstGeom>
          <a:solidFill>
            <a:srgbClr val="89A4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832DE412-CD4E-4BA4-BC7A-D7ABD5866C37}"/>
              </a:ext>
            </a:extLst>
          </p:cNvPr>
          <p:cNvGrpSpPr/>
          <p:nvPr/>
        </p:nvGrpSpPr>
        <p:grpSpPr>
          <a:xfrm>
            <a:off x="7394134" y="2919579"/>
            <a:ext cx="1587582" cy="2682821"/>
            <a:chOff x="2820309" y="378736"/>
            <a:chExt cx="3654564" cy="6175768"/>
          </a:xfrm>
        </p:grpSpPr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0114C2D9-3FE7-402C-B68A-2A486B8024AD}"/>
                </a:ext>
              </a:extLst>
            </p:cNvPr>
            <p:cNvSpPr/>
            <p:nvPr/>
          </p:nvSpPr>
          <p:spPr>
            <a:xfrm>
              <a:off x="3007972" y="6213531"/>
              <a:ext cx="2917599" cy="340973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6" name="Group 185">
              <a:extLst>
                <a:ext uri="{FF2B5EF4-FFF2-40B4-BE49-F238E27FC236}">
                  <a16:creationId xmlns:a16="http://schemas.microsoft.com/office/drawing/2014/main" id="{DE520DF7-31DD-4F5E-82AF-A0C11EC99EEA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005282"/>
              <a:chOff x="2820309" y="378736"/>
              <a:chExt cx="3654564" cy="6005282"/>
            </a:xfrm>
          </p:grpSpPr>
          <p:sp>
            <p:nvSpPr>
              <p:cNvPr id="187" name="Oval 186">
                <a:extLst>
                  <a:ext uri="{FF2B5EF4-FFF2-40B4-BE49-F238E27FC236}">
                    <a16:creationId xmlns:a16="http://schemas.microsoft.com/office/drawing/2014/main" id="{7504E606-D46D-4204-910B-59C2EB3112E3}"/>
                  </a:ext>
                </a:extLst>
              </p:cNvPr>
              <p:cNvSpPr/>
              <p:nvPr/>
            </p:nvSpPr>
            <p:spPr>
              <a:xfrm>
                <a:off x="3147673" y="871875"/>
                <a:ext cx="2892653" cy="289265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8" name="Oval 187">
                <a:extLst>
                  <a:ext uri="{FF2B5EF4-FFF2-40B4-BE49-F238E27FC236}">
                    <a16:creationId xmlns:a16="http://schemas.microsoft.com/office/drawing/2014/main" id="{9F13C1B7-28DB-40EA-9469-9D5A2C687D96}"/>
                  </a:ext>
                </a:extLst>
              </p:cNvPr>
              <p:cNvSpPr/>
              <p:nvPr/>
            </p:nvSpPr>
            <p:spPr>
              <a:xfrm>
                <a:off x="3922657" y="2642142"/>
                <a:ext cx="745216" cy="74521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89" name="Group 188">
                <a:extLst>
                  <a:ext uri="{FF2B5EF4-FFF2-40B4-BE49-F238E27FC236}">
                    <a16:creationId xmlns:a16="http://schemas.microsoft.com/office/drawing/2014/main" id="{E21F1EC3-DCD3-4A0C-91E9-C6C6999EB28A}"/>
                  </a:ext>
                </a:extLst>
              </p:cNvPr>
              <p:cNvGrpSpPr/>
              <p:nvPr/>
            </p:nvGrpSpPr>
            <p:grpSpPr>
              <a:xfrm>
                <a:off x="3439887" y="473982"/>
                <a:ext cx="2026556" cy="5910036"/>
                <a:chOff x="7271658" y="947964"/>
                <a:chExt cx="2026556" cy="5910036"/>
              </a:xfrm>
            </p:grpSpPr>
            <p:grpSp>
              <p:nvGrpSpPr>
                <p:cNvPr id="202" name="Group 201">
                  <a:extLst>
                    <a:ext uri="{FF2B5EF4-FFF2-40B4-BE49-F238E27FC236}">
                      <a16:creationId xmlns:a16="http://schemas.microsoft.com/office/drawing/2014/main" id="{28D2C66C-7415-4E14-95D4-6BB59C27AB0A}"/>
                    </a:ext>
                  </a:extLst>
                </p:cNvPr>
                <p:cNvGrpSpPr/>
                <p:nvPr/>
              </p:nvGrpSpPr>
              <p:grpSpPr>
                <a:xfrm>
                  <a:off x="8069943" y="2324100"/>
                  <a:ext cx="457200" cy="4533900"/>
                  <a:chOff x="8069943" y="2324100"/>
                  <a:chExt cx="457200" cy="4533900"/>
                </a:xfrm>
              </p:grpSpPr>
              <p:sp>
                <p:nvSpPr>
                  <p:cNvPr id="207" name="Freeform: Shape 206">
                    <a:extLst>
                      <a:ext uri="{FF2B5EF4-FFF2-40B4-BE49-F238E27FC236}">
                        <a16:creationId xmlns:a16="http://schemas.microsoft.com/office/drawing/2014/main" id="{F835AEE2-DA79-4F5F-B16C-61273E6761D2}"/>
                      </a:ext>
                    </a:extLst>
                  </p:cNvPr>
                  <p:cNvSpPr/>
                  <p:nvPr/>
                </p:nvSpPr>
                <p:spPr>
                  <a:xfrm>
                    <a:off x="8298543" y="2324100"/>
                    <a:ext cx="228600" cy="4533900"/>
                  </a:xfrm>
                  <a:custGeom>
                    <a:avLst/>
                    <a:gdLst>
                      <a:gd name="connsiteX0" fmla="*/ 0 w 228600"/>
                      <a:gd name="connsiteY0" fmla="*/ 0 h 4533900"/>
                      <a:gd name="connsiteX1" fmla="*/ 1143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0" y="0"/>
                        </a:moveTo>
                        <a:lnTo>
                          <a:pt x="1143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08" name="Freeform: Shape 207">
                    <a:extLst>
                      <a:ext uri="{FF2B5EF4-FFF2-40B4-BE49-F238E27FC236}">
                        <a16:creationId xmlns:a16="http://schemas.microsoft.com/office/drawing/2014/main" id="{C5212413-99DA-4FC7-BC12-C462B893DBBB}"/>
                      </a:ext>
                    </a:extLst>
                  </p:cNvPr>
                  <p:cNvSpPr/>
                  <p:nvPr/>
                </p:nvSpPr>
                <p:spPr>
                  <a:xfrm>
                    <a:off x="8069943" y="2324100"/>
                    <a:ext cx="228600" cy="4533900"/>
                  </a:xfrm>
                  <a:custGeom>
                    <a:avLst/>
                    <a:gdLst>
                      <a:gd name="connsiteX0" fmla="*/ 114300 w 228600"/>
                      <a:gd name="connsiteY0" fmla="*/ 0 h 4533900"/>
                      <a:gd name="connsiteX1" fmla="*/ 2286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11430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114300" y="0"/>
                        </a:moveTo>
                        <a:lnTo>
                          <a:pt x="2286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114300" y="0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03" name="Block Arc 202">
                  <a:extLst>
                    <a:ext uri="{FF2B5EF4-FFF2-40B4-BE49-F238E27FC236}">
                      <a16:creationId xmlns:a16="http://schemas.microsoft.com/office/drawing/2014/main" id="{717F07D7-9099-446C-8BE1-5C3F3FCA3BC5}"/>
                    </a:ext>
                  </a:extLst>
                </p:cNvPr>
                <p:cNvSpPr/>
                <p:nvPr/>
              </p:nvSpPr>
              <p:spPr>
                <a:xfrm rot="16200000">
                  <a:off x="7271658" y="2061029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4" name="Block Arc 203">
                  <a:extLst>
                    <a:ext uri="{FF2B5EF4-FFF2-40B4-BE49-F238E27FC236}">
                      <a16:creationId xmlns:a16="http://schemas.microsoft.com/office/drawing/2014/main" id="{C2D9211C-02B3-40AB-9439-0C791A150696}"/>
                    </a:ext>
                  </a:extLst>
                </p:cNvPr>
                <p:cNvSpPr/>
                <p:nvPr/>
              </p:nvSpPr>
              <p:spPr>
                <a:xfrm rot="16200000">
                  <a:off x="7300686" y="947964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5" name="Block Arc 204">
                  <a:extLst>
                    <a:ext uri="{FF2B5EF4-FFF2-40B4-BE49-F238E27FC236}">
                      <a16:creationId xmlns:a16="http://schemas.microsoft.com/office/drawing/2014/main" id="{E9F09BFF-CF47-4363-9462-948412E6A6EA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2669268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6" name="Block Arc 205">
                  <a:extLst>
                    <a:ext uri="{FF2B5EF4-FFF2-40B4-BE49-F238E27FC236}">
                      <a16:creationId xmlns:a16="http://schemas.microsoft.com/office/drawing/2014/main" id="{4787729D-81A6-4CCF-819A-CE3D49824DA8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1544411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90" name="Group 189">
                <a:extLst>
                  <a:ext uri="{FF2B5EF4-FFF2-40B4-BE49-F238E27FC236}">
                    <a16:creationId xmlns:a16="http://schemas.microsoft.com/office/drawing/2014/main" id="{577D5504-F1AA-42D4-AAFC-BF626F36AFEA}"/>
                  </a:ext>
                </a:extLst>
              </p:cNvPr>
              <p:cNvGrpSpPr/>
              <p:nvPr/>
            </p:nvGrpSpPr>
            <p:grpSpPr>
              <a:xfrm>
                <a:off x="2820309" y="1647146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200" name="Freeform: Shape 199">
                  <a:extLst>
                    <a:ext uri="{FF2B5EF4-FFF2-40B4-BE49-F238E27FC236}">
                      <a16:creationId xmlns:a16="http://schemas.microsoft.com/office/drawing/2014/main" id="{5AC3E81F-E62C-4111-9817-FA02D9DD75D2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01" name="Freeform: Shape 200">
                  <a:extLst>
                    <a:ext uri="{FF2B5EF4-FFF2-40B4-BE49-F238E27FC236}">
                      <a16:creationId xmlns:a16="http://schemas.microsoft.com/office/drawing/2014/main" id="{9F423C34-1C67-4B6A-898B-3ED584A70A6C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91" name="Group 190">
                <a:extLst>
                  <a:ext uri="{FF2B5EF4-FFF2-40B4-BE49-F238E27FC236}">
                    <a16:creationId xmlns:a16="http://schemas.microsoft.com/office/drawing/2014/main" id="{B9434711-6BA7-475F-AAD9-C1701BCE0994}"/>
                  </a:ext>
                </a:extLst>
              </p:cNvPr>
              <p:cNvGrpSpPr/>
              <p:nvPr/>
            </p:nvGrpSpPr>
            <p:grpSpPr>
              <a:xfrm>
                <a:off x="3242130" y="674802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198" name="Freeform: Shape 197">
                  <a:extLst>
                    <a:ext uri="{FF2B5EF4-FFF2-40B4-BE49-F238E27FC236}">
                      <a16:creationId xmlns:a16="http://schemas.microsoft.com/office/drawing/2014/main" id="{57660807-B6E8-4BB8-8B28-79021AD08455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9" name="Freeform: Shape 198">
                  <a:extLst>
                    <a:ext uri="{FF2B5EF4-FFF2-40B4-BE49-F238E27FC236}">
                      <a16:creationId xmlns:a16="http://schemas.microsoft.com/office/drawing/2014/main" id="{C79B775E-837F-4C61-8EFD-B3AE4FE7CBF3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92" name="Group 191">
                <a:extLst>
                  <a:ext uri="{FF2B5EF4-FFF2-40B4-BE49-F238E27FC236}">
                    <a16:creationId xmlns:a16="http://schemas.microsoft.com/office/drawing/2014/main" id="{3A2A2D1A-6130-45EB-ACF0-E041B3128573}"/>
                  </a:ext>
                </a:extLst>
              </p:cNvPr>
              <p:cNvGrpSpPr/>
              <p:nvPr/>
            </p:nvGrpSpPr>
            <p:grpSpPr>
              <a:xfrm>
                <a:off x="4972506" y="2589893"/>
                <a:ext cx="933447" cy="933447"/>
                <a:chOff x="3193143" y="1833336"/>
                <a:chExt cx="2757714" cy="2757714"/>
              </a:xfrm>
            </p:grpSpPr>
            <p:sp>
              <p:nvSpPr>
                <p:cNvPr id="196" name="Freeform: Shape 195">
                  <a:extLst>
                    <a:ext uri="{FF2B5EF4-FFF2-40B4-BE49-F238E27FC236}">
                      <a16:creationId xmlns:a16="http://schemas.microsoft.com/office/drawing/2014/main" id="{479FA3E2-6EE5-4EA9-BFB1-F171746F51C5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7" name="Freeform: Shape 196">
                  <a:extLst>
                    <a:ext uri="{FF2B5EF4-FFF2-40B4-BE49-F238E27FC236}">
                      <a16:creationId xmlns:a16="http://schemas.microsoft.com/office/drawing/2014/main" id="{24A16747-773C-4C67-9970-57F2B62C1CFE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193" name="Group 192">
                <a:extLst>
                  <a:ext uri="{FF2B5EF4-FFF2-40B4-BE49-F238E27FC236}">
                    <a16:creationId xmlns:a16="http://schemas.microsoft.com/office/drawing/2014/main" id="{F9BD200E-7064-4E8F-937E-01DC54E5306D}"/>
                  </a:ext>
                </a:extLst>
              </p:cNvPr>
              <p:cNvGrpSpPr/>
              <p:nvPr/>
            </p:nvGrpSpPr>
            <p:grpSpPr>
              <a:xfrm>
                <a:off x="4194006" y="378736"/>
                <a:ext cx="2280867" cy="2280867"/>
                <a:chOff x="3193144" y="1833336"/>
                <a:chExt cx="2757714" cy="2757714"/>
              </a:xfrm>
            </p:grpSpPr>
            <p:sp>
              <p:nvSpPr>
                <p:cNvPr id="194" name="Freeform: Shape 193">
                  <a:extLst>
                    <a:ext uri="{FF2B5EF4-FFF2-40B4-BE49-F238E27FC236}">
                      <a16:creationId xmlns:a16="http://schemas.microsoft.com/office/drawing/2014/main" id="{E1690817-4630-47B8-9576-E0910CE8C450}"/>
                    </a:ext>
                  </a:extLst>
                </p:cNvPr>
                <p:cNvSpPr/>
                <p:nvPr/>
              </p:nvSpPr>
              <p:spPr>
                <a:xfrm>
                  <a:off x="4572001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95" name="Freeform: Shape 194">
                  <a:extLst>
                    <a:ext uri="{FF2B5EF4-FFF2-40B4-BE49-F238E27FC236}">
                      <a16:creationId xmlns:a16="http://schemas.microsoft.com/office/drawing/2014/main" id="{E804A1AA-77DC-4EEC-B051-32E6333481E8}"/>
                    </a:ext>
                  </a:extLst>
                </p:cNvPr>
                <p:cNvSpPr/>
                <p:nvPr/>
              </p:nvSpPr>
              <p:spPr>
                <a:xfrm>
                  <a:off x="3193144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893C5607-E3D1-4097-B83E-9AD085B6E08D}"/>
              </a:ext>
            </a:extLst>
          </p:cNvPr>
          <p:cNvGrpSpPr/>
          <p:nvPr/>
        </p:nvGrpSpPr>
        <p:grpSpPr>
          <a:xfrm>
            <a:off x="-226886" y="3448675"/>
            <a:ext cx="3654564" cy="6175768"/>
            <a:chOff x="2820309" y="378736"/>
            <a:chExt cx="3654564" cy="6175768"/>
          </a:xfrm>
        </p:grpSpPr>
        <p:sp>
          <p:nvSpPr>
            <p:cNvPr id="261" name="Oval 260">
              <a:extLst>
                <a:ext uri="{FF2B5EF4-FFF2-40B4-BE49-F238E27FC236}">
                  <a16:creationId xmlns:a16="http://schemas.microsoft.com/office/drawing/2014/main" id="{80C7CFE1-9967-472A-B47D-47561E306114}"/>
                </a:ext>
              </a:extLst>
            </p:cNvPr>
            <p:cNvSpPr/>
            <p:nvPr/>
          </p:nvSpPr>
          <p:spPr>
            <a:xfrm>
              <a:off x="3245645" y="2718154"/>
              <a:ext cx="860537" cy="860537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8B064633-EA33-422D-810A-4A739EA1A6CF}"/>
                </a:ext>
              </a:extLst>
            </p:cNvPr>
            <p:cNvSpPr/>
            <p:nvPr/>
          </p:nvSpPr>
          <p:spPr>
            <a:xfrm>
              <a:off x="5340159" y="1982674"/>
              <a:ext cx="958455" cy="958455"/>
            </a:xfrm>
            <a:prstGeom prst="ellipse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11737514-83C6-4D02-9672-96BB9941213B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175768"/>
              <a:chOff x="2820309" y="378736"/>
              <a:chExt cx="3654564" cy="6175768"/>
            </a:xfrm>
          </p:grpSpPr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id="{09D48152-B082-499D-ADE1-72060203CE74}"/>
                  </a:ext>
                </a:extLst>
              </p:cNvPr>
              <p:cNvSpPr/>
              <p:nvPr/>
            </p:nvSpPr>
            <p:spPr>
              <a:xfrm>
                <a:off x="3007972" y="6213531"/>
                <a:ext cx="2917599" cy="340973"/>
              </a:xfrm>
              <a:prstGeom prst="ellipse">
                <a:avLst/>
              </a:prstGeom>
              <a:solidFill>
                <a:schemeClr val="tx1">
                  <a:alpha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65" name="Group 264">
                <a:extLst>
                  <a:ext uri="{FF2B5EF4-FFF2-40B4-BE49-F238E27FC236}">
                    <a16:creationId xmlns:a16="http://schemas.microsoft.com/office/drawing/2014/main" id="{F929E2BD-1C4C-412C-B561-1DA9FA4AB5FD}"/>
                  </a:ext>
                </a:extLst>
              </p:cNvPr>
              <p:cNvGrpSpPr/>
              <p:nvPr/>
            </p:nvGrpSpPr>
            <p:grpSpPr>
              <a:xfrm>
                <a:off x="2820309" y="378736"/>
                <a:ext cx="3654564" cy="6005282"/>
                <a:chOff x="2820309" y="378736"/>
                <a:chExt cx="3654564" cy="6005282"/>
              </a:xfrm>
            </p:grpSpPr>
            <p:sp>
              <p:nvSpPr>
                <p:cNvPr id="266" name="Oval 265">
                  <a:extLst>
                    <a:ext uri="{FF2B5EF4-FFF2-40B4-BE49-F238E27FC236}">
                      <a16:creationId xmlns:a16="http://schemas.microsoft.com/office/drawing/2014/main" id="{749370DE-F192-40C3-B46B-C06F0F520F18}"/>
                    </a:ext>
                  </a:extLst>
                </p:cNvPr>
                <p:cNvSpPr/>
                <p:nvPr/>
              </p:nvSpPr>
              <p:spPr>
                <a:xfrm>
                  <a:off x="3147673" y="871875"/>
                  <a:ext cx="2892653" cy="2892653"/>
                </a:xfrm>
                <a:prstGeom prst="ellipse">
                  <a:avLst/>
                </a:prstGeom>
                <a:solidFill>
                  <a:schemeClr val="accent6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7" name="Oval 266">
                  <a:extLst>
                    <a:ext uri="{FF2B5EF4-FFF2-40B4-BE49-F238E27FC236}">
                      <a16:creationId xmlns:a16="http://schemas.microsoft.com/office/drawing/2014/main" id="{61A2BFA4-899E-44A3-8160-AB7085921BDB}"/>
                    </a:ext>
                  </a:extLst>
                </p:cNvPr>
                <p:cNvSpPr/>
                <p:nvPr/>
              </p:nvSpPr>
              <p:spPr>
                <a:xfrm>
                  <a:off x="3922657" y="2642142"/>
                  <a:ext cx="745216" cy="745216"/>
                </a:xfrm>
                <a:prstGeom prst="ellipse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268" name="Group 267">
                  <a:extLst>
                    <a:ext uri="{FF2B5EF4-FFF2-40B4-BE49-F238E27FC236}">
                      <a16:creationId xmlns:a16="http://schemas.microsoft.com/office/drawing/2014/main" id="{F9AE3E77-BECD-49D1-B484-D2167A8FCF14}"/>
                    </a:ext>
                  </a:extLst>
                </p:cNvPr>
                <p:cNvGrpSpPr/>
                <p:nvPr/>
              </p:nvGrpSpPr>
              <p:grpSpPr>
                <a:xfrm>
                  <a:off x="3439887" y="473982"/>
                  <a:ext cx="2026556" cy="5910036"/>
                  <a:chOff x="7271658" y="947964"/>
                  <a:chExt cx="2026556" cy="5910036"/>
                </a:xfrm>
              </p:grpSpPr>
              <p:grpSp>
                <p:nvGrpSpPr>
                  <p:cNvPr id="281" name="Group 280">
                    <a:extLst>
                      <a:ext uri="{FF2B5EF4-FFF2-40B4-BE49-F238E27FC236}">
                        <a16:creationId xmlns:a16="http://schemas.microsoft.com/office/drawing/2014/main" id="{71D9E0E5-BE25-470E-BFEC-B7A95861174E}"/>
                      </a:ext>
                    </a:extLst>
                  </p:cNvPr>
                  <p:cNvGrpSpPr/>
                  <p:nvPr/>
                </p:nvGrpSpPr>
                <p:grpSpPr>
                  <a:xfrm>
                    <a:off x="8069943" y="2324100"/>
                    <a:ext cx="457200" cy="4533900"/>
                    <a:chOff x="8069943" y="2324100"/>
                    <a:chExt cx="457200" cy="4533900"/>
                  </a:xfrm>
                </p:grpSpPr>
                <p:sp>
                  <p:nvSpPr>
                    <p:cNvPr id="286" name="Freeform: Shape 285">
                      <a:extLst>
                        <a:ext uri="{FF2B5EF4-FFF2-40B4-BE49-F238E27FC236}">
                          <a16:creationId xmlns:a16="http://schemas.microsoft.com/office/drawing/2014/main" id="{5C403B69-9CF9-462E-A21C-099B3B8E82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298543" y="2324100"/>
                      <a:ext cx="228600" cy="4533900"/>
                    </a:xfrm>
                    <a:custGeom>
                      <a:avLst/>
                      <a:gdLst>
                        <a:gd name="connsiteX0" fmla="*/ 0 w 228600"/>
                        <a:gd name="connsiteY0" fmla="*/ 0 h 4533900"/>
                        <a:gd name="connsiteX1" fmla="*/ 114300 w 228600"/>
                        <a:gd name="connsiteY1" fmla="*/ 0 h 4533900"/>
                        <a:gd name="connsiteX2" fmla="*/ 228600 w 228600"/>
                        <a:gd name="connsiteY2" fmla="*/ 4533900 h 4533900"/>
                        <a:gd name="connsiteX3" fmla="*/ 0 w 228600"/>
                        <a:gd name="connsiteY3" fmla="*/ 4533900 h 4533900"/>
                        <a:gd name="connsiteX4" fmla="*/ 0 w 228600"/>
                        <a:gd name="connsiteY4" fmla="*/ 0 h 45339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28600" h="4533900">
                          <a:moveTo>
                            <a:pt x="0" y="0"/>
                          </a:moveTo>
                          <a:lnTo>
                            <a:pt x="114300" y="0"/>
                          </a:lnTo>
                          <a:lnTo>
                            <a:pt x="228600" y="4533900"/>
                          </a:lnTo>
                          <a:lnTo>
                            <a:pt x="0" y="45339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chemeClr val="accent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  <p:sp>
                  <p:nvSpPr>
                    <p:cNvPr id="287" name="Freeform: Shape 286">
                      <a:extLst>
                        <a:ext uri="{FF2B5EF4-FFF2-40B4-BE49-F238E27FC236}">
                          <a16:creationId xmlns:a16="http://schemas.microsoft.com/office/drawing/2014/main" id="{74AF06F2-8F56-49DE-A47C-93B1A6009F4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069943" y="2324100"/>
                      <a:ext cx="228600" cy="4533900"/>
                    </a:xfrm>
                    <a:custGeom>
                      <a:avLst/>
                      <a:gdLst>
                        <a:gd name="connsiteX0" fmla="*/ 114300 w 228600"/>
                        <a:gd name="connsiteY0" fmla="*/ 0 h 4533900"/>
                        <a:gd name="connsiteX1" fmla="*/ 228600 w 228600"/>
                        <a:gd name="connsiteY1" fmla="*/ 0 h 4533900"/>
                        <a:gd name="connsiteX2" fmla="*/ 228600 w 228600"/>
                        <a:gd name="connsiteY2" fmla="*/ 4533900 h 4533900"/>
                        <a:gd name="connsiteX3" fmla="*/ 0 w 228600"/>
                        <a:gd name="connsiteY3" fmla="*/ 4533900 h 4533900"/>
                        <a:gd name="connsiteX4" fmla="*/ 114300 w 228600"/>
                        <a:gd name="connsiteY4" fmla="*/ 0 h 45339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28600" h="4533900">
                          <a:moveTo>
                            <a:pt x="114300" y="0"/>
                          </a:moveTo>
                          <a:lnTo>
                            <a:pt x="228600" y="0"/>
                          </a:lnTo>
                          <a:lnTo>
                            <a:pt x="228600" y="4533900"/>
                          </a:lnTo>
                          <a:lnTo>
                            <a:pt x="0" y="4533900"/>
                          </a:lnTo>
                          <a:lnTo>
                            <a:pt x="114300" y="0"/>
                          </a:lnTo>
                          <a:close/>
                        </a:path>
                      </a:pathLst>
                    </a:custGeom>
                    <a:solidFill>
                      <a:schemeClr val="accent2">
                        <a:lumMod val="7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/>
                    </a:p>
                  </p:txBody>
                </p:sp>
              </p:grpSp>
              <p:sp>
                <p:nvSpPr>
                  <p:cNvPr id="282" name="Block Arc 281">
                    <a:extLst>
                      <a:ext uri="{FF2B5EF4-FFF2-40B4-BE49-F238E27FC236}">
                        <a16:creationId xmlns:a16="http://schemas.microsoft.com/office/drawing/2014/main" id="{1031E7B8-57EE-4A89-A925-8CE012B66077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7271658" y="2061029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3" name="Block Arc 282">
                    <a:extLst>
                      <a:ext uri="{FF2B5EF4-FFF2-40B4-BE49-F238E27FC236}">
                        <a16:creationId xmlns:a16="http://schemas.microsoft.com/office/drawing/2014/main" id="{914ED85A-9098-42F1-80F5-C35C5E5D1EA2}"/>
                      </a:ext>
                    </a:extLst>
                  </p:cNvPr>
                  <p:cNvSpPr/>
                  <p:nvPr/>
                </p:nvSpPr>
                <p:spPr>
                  <a:xfrm rot="16200000">
                    <a:off x="7300686" y="947964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4" name="Block Arc 283">
                    <a:extLst>
                      <a:ext uri="{FF2B5EF4-FFF2-40B4-BE49-F238E27FC236}">
                        <a16:creationId xmlns:a16="http://schemas.microsoft.com/office/drawing/2014/main" id="{4391965A-E7F2-4C79-94EE-87D59B5BBB04}"/>
                      </a:ext>
                    </a:extLst>
                  </p:cNvPr>
                  <p:cNvSpPr/>
                  <p:nvPr/>
                </p:nvSpPr>
                <p:spPr>
                  <a:xfrm rot="5400000" flipH="1">
                    <a:off x="7527471" y="2669268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5" name="Block Arc 284">
                    <a:extLst>
                      <a:ext uri="{FF2B5EF4-FFF2-40B4-BE49-F238E27FC236}">
                        <a16:creationId xmlns:a16="http://schemas.microsoft.com/office/drawing/2014/main" id="{CDF56040-785E-47E9-9E95-08249D54835F}"/>
                      </a:ext>
                    </a:extLst>
                  </p:cNvPr>
                  <p:cNvSpPr/>
                  <p:nvPr/>
                </p:nvSpPr>
                <p:spPr>
                  <a:xfrm rot="5400000" flipH="1">
                    <a:off x="7527471" y="1544411"/>
                    <a:ext cx="1770743" cy="1770743"/>
                  </a:xfrm>
                  <a:prstGeom prst="blockArc">
                    <a:avLst>
                      <a:gd name="adj1" fmla="val 10800000"/>
                      <a:gd name="adj2" fmla="val 16234411"/>
                      <a:gd name="adj3" fmla="val 9014"/>
                    </a:avLst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269" name="Group 268">
                  <a:extLst>
                    <a:ext uri="{FF2B5EF4-FFF2-40B4-BE49-F238E27FC236}">
                      <a16:creationId xmlns:a16="http://schemas.microsoft.com/office/drawing/2014/main" id="{48610456-1610-47CB-8E28-E55E8BA548A4}"/>
                    </a:ext>
                  </a:extLst>
                </p:cNvPr>
                <p:cNvGrpSpPr/>
                <p:nvPr/>
              </p:nvGrpSpPr>
              <p:grpSpPr>
                <a:xfrm>
                  <a:off x="2820309" y="1647146"/>
                  <a:ext cx="1307872" cy="1307872"/>
                  <a:chOff x="3193143" y="1833336"/>
                  <a:chExt cx="2757714" cy="2757714"/>
                </a:xfrm>
              </p:grpSpPr>
              <p:sp>
                <p:nvSpPr>
                  <p:cNvPr id="279" name="Freeform: Shape 278">
                    <a:extLst>
                      <a:ext uri="{FF2B5EF4-FFF2-40B4-BE49-F238E27FC236}">
                        <a16:creationId xmlns:a16="http://schemas.microsoft.com/office/drawing/2014/main" id="{AC68152C-E5AB-488A-B6B7-710D7E0EB52D}"/>
                      </a:ext>
                    </a:extLst>
                  </p:cNvPr>
                  <p:cNvSpPr/>
                  <p:nvPr/>
                </p:nvSpPr>
                <p:spPr>
                  <a:xfrm>
                    <a:off x="4572000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80" name="Freeform: Shape 279">
                    <a:extLst>
                      <a:ext uri="{FF2B5EF4-FFF2-40B4-BE49-F238E27FC236}">
                        <a16:creationId xmlns:a16="http://schemas.microsoft.com/office/drawing/2014/main" id="{0E99F54C-79F1-48DE-B629-F2BE657D434B}"/>
                      </a:ext>
                    </a:extLst>
                  </p:cNvPr>
                  <p:cNvSpPr/>
                  <p:nvPr/>
                </p:nvSpPr>
                <p:spPr>
                  <a:xfrm>
                    <a:off x="3193143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270" name="Group 269">
                  <a:extLst>
                    <a:ext uri="{FF2B5EF4-FFF2-40B4-BE49-F238E27FC236}">
                      <a16:creationId xmlns:a16="http://schemas.microsoft.com/office/drawing/2014/main" id="{EC12A587-A06B-4366-A15F-49778B650E05}"/>
                    </a:ext>
                  </a:extLst>
                </p:cNvPr>
                <p:cNvGrpSpPr/>
                <p:nvPr/>
              </p:nvGrpSpPr>
              <p:grpSpPr>
                <a:xfrm>
                  <a:off x="3242130" y="674802"/>
                  <a:ext cx="1307872" cy="1307872"/>
                  <a:chOff x="3193143" y="1833336"/>
                  <a:chExt cx="2757714" cy="2757714"/>
                </a:xfrm>
              </p:grpSpPr>
              <p:sp>
                <p:nvSpPr>
                  <p:cNvPr id="277" name="Freeform: Shape 276">
                    <a:extLst>
                      <a:ext uri="{FF2B5EF4-FFF2-40B4-BE49-F238E27FC236}">
                        <a16:creationId xmlns:a16="http://schemas.microsoft.com/office/drawing/2014/main" id="{AAA19CC1-7D06-4455-BAA2-2497DB900301}"/>
                      </a:ext>
                    </a:extLst>
                  </p:cNvPr>
                  <p:cNvSpPr/>
                  <p:nvPr/>
                </p:nvSpPr>
                <p:spPr>
                  <a:xfrm>
                    <a:off x="4572000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78" name="Freeform: Shape 277">
                    <a:extLst>
                      <a:ext uri="{FF2B5EF4-FFF2-40B4-BE49-F238E27FC236}">
                        <a16:creationId xmlns:a16="http://schemas.microsoft.com/office/drawing/2014/main" id="{233429D5-0A71-4355-8377-10AA009A3E7B}"/>
                      </a:ext>
                    </a:extLst>
                  </p:cNvPr>
                  <p:cNvSpPr/>
                  <p:nvPr/>
                </p:nvSpPr>
                <p:spPr>
                  <a:xfrm>
                    <a:off x="3193143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271" name="Group 270">
                  <a:extLst>
                    <a:ext uri="{FF2B5EF4-FFF2-40B4-BE49-F238E27FC236}">
                      <a16:creationId xmlns:a16="http://schemas.microsoft.com/office/drawing/2014/main" id="{C90111D6-5923-4F20-BC9F-C09CB97083B7}"/>
                    </a:ext>
                  </a:extLst>
                </p:cNvPr>
                <p:cNvGrpSpPr/>
                <p:nvPr/>
              </p:nvGrpSpPr>
              <p:grpSpPr>
                <a:xfrm>
                  <a:off x="4972506" y="2589893"/>
                  <a:ext cx="933447" cy="933447"/>
                  <a:chOff x="3193143" y="1833336"/>
                  <a:chExt cx="2757714" cy="2757714"/>
                </a:xfrm>
              </p:grpSpPr>
              <p:sp>
                <p:nvSpPr>
                  <p:cNvPr id="275" name="Freeform: Shape 274">
                    <a:extLst>
                      <a:ext uri="{FF2B5EF4-FFF2-40B4-BE49-F238E27FC236}">
                        <a16:creationId xmlns:a16="http://schemas.microsoft.com/office/drawing/2014/main" id="{D853E728-217E-4E62-8858-EB73236E0A0A}"/>
                      </a:ext>
                    </a:extLst>
                  </p:cNvPr>
                  <p:cNvSpPr/>
                  <p:nvPr/>
                </p:nvSpPr>
                <p:spPr>
                  <a:xfrm>
                    <a:off x="4572000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76" name="Freeform: Shape 275">
                    <a:extLst>
                      <a:ext uri="{FF2B5EF4-FFF2-40B4-BE49-F238E27FC236}">
                        <a16:creationId xmlns:a16="http://schemas.microsoft.com/office/drawing/2014/main" id="{2CDD7F8D-5CB1-414F-A2DB-CA4CB52D45ED}"/>
                      </a:ext>
                    </a:extLst>
                  </p:cNvPr>
                  <p:cNvSpPr/>
                  <p:nvPr/>
                </p:nvSpPr>
                <p:spPr>
                  <a:xfrm>
                    <a:off x="3193143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grpSp>
              <p:nvGrpSpPr>
                <p:cNvPr id="272" name="Group 271">
                  <a:extLst>
                    <a:ext uri="{FF2B5EF4-FFF2-40B4-BE49-F238E27FC236}">
                      <a16:creationId xmlns:a16="http://schemas.microsoft.com/office/drawing/2014/main" id="{C1B95655-1AB7-4577-8422-5A3445CA5518}"/>
                    </a:ext>
                  </a:extLst>
                </p:cNvPr>
                <p:cNvGrpSpPr/>
                <p:nvPr/>
              </p:nvGrpSpPr>
              <p:grpSpPr>
                <a:xfrm>
                  <a:off x="4194006" y="378736"/>
                  <a:ext cx="2280867" cy="2280867"/>
                  <a:chOff x="3193144" y="1833336"/>
                  <a:chExt cx="2757714" cy="2757714"/>
                </a:xfrm>
              </p:grpSpPr>
              <p:sp>
                <p:nvSpPr>
                  <p:cNvPr id="273" name="Freeform: Shape 272">
                    <a:extLst>
                      <a:ext uri="{FF2B5EF4-FFF2-40B4-BE49-F238E27FC236}">
                        <a16:creationId xmlns:a16="http://schemas.microsoft.com/office/drawing/2014/main" id="{0F61092A-0DA1-4924-91AB-C93F009DE4B5}"/>
                      </a:ext>
                    </a:extLst>
                  </p:cNvPr>
                  <p:cNvSpPr/>
                  <p:nvPr/>
                </p:nvSpPr>
                <p:spPr>
                  <a:xfrm>
                    <a:off x="4572001" y="1833336"/>
                    <a:ext cx="1378857" cy="2757714"/>
                  </a:xfrm>
                  <a:custGeom>
                    <a:avLst/>
                    <a:gdLst>
                      <a:gd name="connsiteX0" fmla="*/ 0 w 1378857"/>
                      <a:gd name="connsiteY0" fmla="*/ 0 h 2757714"/>
                      <a:gd name="connsiteX1" fmla="*/ 1378857 w 1378857"/>
                      <a:gd name="connsiteY1" fmla="*/ 1378857 h 2757714"/>
                      <a:gd name="connsiteX2" fmla="*/ 0 w 1378857"/>
                      <a:gd name="connsiteY2" fmla="*/ 2757714 h 2757714"/>
                      <a:gd name="connsiteX3" fmla="*/ 0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0" y="0"/>
                        </a:moveTo>
                        <a:cubicBezTo>
                          <a:pt x="761522" y="0"/>
                          <a:pt x="1378857" y="617335"/>
                          <a:pt x="1378857" y="1378857"/>
                        </a:cubicBezTo>
                        <a:cubicBezTo>
                          <a:pt x="1378857" y="2140379"/>
                          <a:pt x="761522" y="2757714"/>
                          <a:pt x="0" y="2757714"/>
                        </a:cubicBez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74" name="Freeform: Shape 273">
                    <a:extLst>
                      <a:ext uri="{FF2B5EF4-FFF2-40B4-BE49-F238E27FC236}">
                        <a16:creationId xmlns:a16="http://schemas.microsoft.com/office/drawing/2014/main" id="{F8D08B5F-75C6-4767-9003-326BA3760875}"/>
                      </a:ext>
                    </a:extLst>
                  </p:cNvPr>
                  <p:cNvSpPr/>
                  <p:nvPr/>
                </p:nvSpPr>
                <p:spPr>
                  <a:xfrm>
                    <a:off x="3193144" y="1833336"/>
                    <a:ext cx="1378857" cy="2757714"/>
                  </a:xfrm>
                  <a:custGeom>
                    <a:avLst/>
                    <a:gdLst>
                      <a:gd name="connsiteX0" fmla="*/ 1378857 w 1378857"/>
                      <a:gd name="connsiteY0" fmla="*/ 0 h 2757714"/>
                      <a:gd name="connsiteX1" fmla="*/ 1378857 w 1378857"/>
                      <a:gd name="connsiteY1" fmla="*/ 2757714 h 2757714"/>
                      <a:gd name="connsiteX2" fmla="*/ 0 w 1378857"/>
                      <a:gd name="connsiteY2" fmla="*/ 1378857 h 2757714"/>
                      <a:gd name="connsiteX3" fmla="*/ 1378857 w 1378857"/>
                      <a:gd name="connsiteY3" fmla="*/ 0 h 275771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378857" h="2757714">
                        <a:moveTo>
                          <a:pt x="1378857" y="0"/>
                        </a:moveTo>
                        <a:lnTo>
                          <a:pt x="1378857" y="2757714"/>
                        </a:lnTo>
                        <a:cubicBezTo>
                          <a:pt x="617335" y="2757714"/>
                          <a:pt x="0" y="2140379"/>
                          <a:pt x="0" y="1378857"/>
                        </a:cubicBezTo>
                        <a:cubicBezTo>
                          <a:pt x="0" y="617335"/>
                          <a:pt x="617335" y="0"/>
                          <a:pt x="1378857" y="0"/>
                        </a:cubicBezTo>
                        <a:close/>
                      </a:path>
                    </a:pathLst>
                  </a:custGeom>
                  <a:solidFill>
                    <a:schemeClr val="accent6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</p:grpSp>
        </p:grpSp>
      </p:grpSp>
      <p:grpSp>
        <p:nvGrpSpPr>
          <p:cNvPr id="328" name="Group 327">
            <a:extLst>
              <a:ext uri="{FF2B5EF4-FFF2-40B4-BE49-F238E27FC236}">
                <a16:creationId xmlns:a16="http://schemas.microsoft.com/office/drawing/2014/main" id="{179ABC87-D932-4F32-86DB-62985E6FCE41}"/>
              </a:ext>
            </a:extLst>
          </p:cNvPr>
          <p:cNvGrpSpPr/>
          <p:nvPr/>
        </p:nvGrpSpPr>
        <p:grpSpPr>
          <a:xfrm>
            <a:off x="5978135" y="3731527"/>
            <a:ext cx="1225763" cy="2280867"/>
            <a:chOff x="2854597" y="111992"/>
            <a:chExt cx="3438826" cy="6398874"/>
          </a:xfrm>
        </p:grpSpPr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F5518BD1-F1FF-4CEB-8A7E-6AD3F41F5808}"/>
                </a:ext>
              </a:extLst>
            </p:cNvPr>
            <p:cNvSpPr/>
            <p:nvPr/>
          </p:nvSpPr>
          <p:spPr>
            <a:xfrm>
              <a:off x="3443457" y="6186824"/>
              <a:ext cx="2257086" cy="324042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0" name="Group 329">
              <a:extLst>
                <a:ext uri="{FF2B5EF4-FFF2-40B4-BE49-F238E27FC236}">
                  <a16:creationId xmlns:a16="http://schemas.microsoft.com/office/drawing/2014/main" id="{FD9B2C39-B25E-46E6-97E4-5875CFCEDBFE}"/>
                </a:ext>
              </a:extLst>
            </p:cNvPr>
            <p:cNvGrpSpPr/>
            <p:nvPr/>
          </p:nvGrpSpPr>
          <p:grpSpPr>
            <a:xfrm>
              <a:off x="2854597" y="111992"/>
              <a:ext cx="3438826" cy="6236853"/>
              <a:chOff x="2854597" y="111992"/>
              <a:chExt cx="3438826" cy="6236853"/>
            </a:xfrm>
          </p:grpSpPr>
          <p:sp>
            <p:nvSpPr>
              <p:cNvPr id="331" name="Oval 330">
                <a:extLst>
                  <a:ext uri="{FF2B5EF4-FFF2-40B4-BE49-F238E27FC236}">
                    <a16:creationId xmlns:a16="http://schemas.microsoft.com/office/drawing/2014/main" id="{92688A97-391E-47F4-AFF2-A6811CF6CFFF}"/>
                  </a:ext>
                </a:extLst>
              </p:cNvPr>
              <p:cNvSpPr/>
              <p:nvPr/>
            </p:nvSpPr>
            <p:spPr>
              <a:xfrm rot="14026178" flipH="1">
                <a:off x="3674396" y="1644238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2" name="Oval 331">
                <a:extLst>
                  <a:ext uri="{FF2B5EF4-FFF2-40B4-BE49-F238E27FC236}">
                    <a16:creationId xmlns:a16="http://schemas.microsoft.com/office/drawing/2014/main" id="{E3E30FF7-58CB-4678-AE51-7C8866C464C8}"/>
                  </a:ext>
                </a:extLst>
              </p:cNvPr>
              <p:cNvSpPr/>
              <p:nvPr/>
            </p:nvSpPr>
            <p:spPr>
              <a:xfrm rot="7573822">
                <a:off x="5219769" y="1626843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3" name="Oval 332">
                <a:extLst>
                  <a:ext uri="{FF2B5EF4-FFF2-40B4-BE49-F238E27FC236}">
                    <a16:creationId xmlns:a16="http://schemas.microsoft.com/office/drawing/2014/main" id="{B410577B-6F5F-4047-BBEB-D0BE9AD60D66}"/>
                  </a:ext>
                </a:extLst>
              </p:cNvPr>
              <p:cNvSpPr/>
              <p:nvPr/>
            </p:nvSpPr>
            <p:spPr>
              <a:xfrm>
                <a:off x="4445071" y="111992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4" name="Trapezoid 333">
                <a:extLst>
                  <a:ext uri="{FF2B5EF4-FFF2-40B4-BE49-F238E27FC236}">
                    <a16:creationId xmlns:a16="http://schemas.microsoft.com/office/drawing/2014/main" id="{C242F042-EBFF-4337-B83B-BC59A52E2A6F}"/>
                  </a:ext>
                </a:extLst>
              </p:cNvPr>
              <p:cNvSpPr/>
              <p:nvPr/>
            </p:nvSpPr>
            <p:spPr>
              <a:xfrm>
                <a:off x="4371975" y="2234045"/>
                <a:ext cx="400050" cy="4114800"/>
              </a:xfrm>
              <a:prstGeom prst="trapezoid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5" name="Oval 334">
                <a:extLst>
                  <a:ext uri="{FF2B5EF4-FFF2-40B4-BE49-F238E27FC236}">
                    <a16:creationId xmlns:a16="http://schemas.microsoft.com/office/drawing/2014/main" id="{F1E1F6DC-4276-446A-AFEC-0306F25AA8CB}"/>
                  </a:ext>
                </a:extLst>
              </p:cNvPr>
              <p:cNvSpPr/>
              <p:nvPr/>
            </p:nvSpPr>
            <p:spPr>
              <a:xfrm>
                <a:off x="4281343" y="1776845"/>
                <a:ext cx="581314" cy="5813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6" name="Oval 335">
                <a:extLst>
                  <a:ext uri="{FF2B5EF4-FFF2-40B4-BE49-F238E27FC236}">
                    <a16:creationId xmlns:a16="http://schemas.microsoft.com/office/drawing/2014/main" id="{A6A90CF5-E42B-4869-93EF-541D8ACB7D3E}"/>
                  </a:ext>
                </a:extLst>
              </p:cNvPr>
              <p:cNvSpPr/>
              <p:nvPr/>
            </p:nvSpPr>
            <p:spPr>
              <a:xfrm>
                <a:off x="4416136" y="1911638"/>
                <a:ext cx="311727" cy="311727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8AEDBEA2-A4B1-4319-A2DB-0FD576062F1A}"/>
              </a:ext>
            </a:extLst>
          </p:cNvPr>
          <p:cNvGrpSpPr/>
          <p:nvPr/>
        </p:nvGrpSpPr>
        <p:grpSpPr>
          <a:xfrm>
            <a:off x="6702216" y="3816669"/>
            <a:ext cx="1126006" cy="2095241"/>
            <a:chOff x="2854597" y="111992"/>
            <a:chExt cx="3438826" cy="6398874"/>
          </a:xfrm>
        </p:grpSpPr>
        <p:sp>
          <p:nvSpPr>
            <p:cNvPr id="338" name="Oval 337">
              <a:extLst>
                <a:ext uri="{FF2B5EF4-FFF2-40B4-BE49-F238E27FC236}">
                  <a16:creationId xmlns:a16="http://schemas.microsoft.com/office/drawing/2014/main" id="{C7FD9092-BD1A-40A7-A66F-A33D1F9B25F5}"/>
                </a:ext>
              </a:extLst>
            </p:cNvPr>
            <p:cNvSpPr/>
            <p:nvPr/>
          </p:nvSpPr>
          <p:spPr>
            <a:xfrm>
              <a:off x="3443457" y="6186824"/>
              <a:ext cx="2257086" cy="324042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9" name="Group 338">
              <a:extLst>
                <a:ext uri="{FF2B5EF4-FFF2-40B4-BE49-F238E27FC236}">
                  <a16:creationId xmlns:a16="http://schemas.microsoft.com/office/drawing/2014/main" id="{7D28CDFB-E28B-49FE-A3B0-C89D93508686}"/>
                </a:ext>
              </a:extLst>
            </p:cNvPr>
            <p:cNvGrpSpPr/>
            <p:nvPr/>
          </p:nvGrpSpPr>
          <p:grpSpPr>
            <a:xfrm>
              <a:off x="2854597" y="111992"/>
              <a:ext cx="3438826" cy="6236853"/>
              <a:chOff x="2854597" y="111992"/>
              <a:chExt cx="3438826" cy="6236853"/>
            </a:xfrm>
          </p:grpSpPr>
          <p:sp>
            <p:nvSpPr>
              <p:cNvPr id="340" name="Oval 339">
                <a:extLst>
                  <a:ext uri="{FF2B5EF4-FFF2-40B4-BE49-F238E27FC236}">
                    <a16:creationId xmlns:a16="http://schemas.microsoft.com/office/drawing/2014/main" id="{C08D52AE-9AA1-46D3-9ED4-9FCD286C71D8}"/>
                  </a:ext>
                </a:extLst>
              </p:cNvPr>
              <p:cNvSpPr/>
              <p:nvPr/>
            </p:nvSpPr>
            <p:spPr>
              <a:xfrm rot="14026178" flipH="1">
                <a:off x="3674396" y="1644238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1" name="Oval 340">
                <a:extLst>
                  <a:ext uri="{FF2B5EF4-FFF2-40B4-BE49-F238E27FC236}">
                    <a16:creationId xmlns:a16="http://schemas.microsoft.com/office/drawing/2014/main" id="{ED3DB604-F694-47B8-BB7A-1D2BD6826041}"/>
                  </a:ext>
                </a:extLst>
              </p:cNvPr>
              <p:cNvSpPr/>
              <p:nvPr/>
            </p:nvSpPr>
            <p:spPr>
              <a:xfrm rot="7573822">
                <a:off x="5219769" y="1626843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2" name="Oval 341">
                <a:extLst>
                  <a:ext uri="{FF2B5EF4-FFF2-40B4-BE49-F238E27FC236}">
                    <a16:creationId xmlns:a16="http://schemas.microsoft.com/office/drawing/2014/main" id="{EF7A8DC4-9B59-46C6-9AE0-B4F4CA623105}"/>
                  </a:ext>
                </a:extLst>
              </p:cNvPr>
              <p:cNvSpPr/>
              <p:nvPr/>
            </p:nvSpPr>
            <p:spPr>
              <a:xfrm>
                <a:off x="4445071" y="111992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3" name="Trapezoid 342">
                <a:extLst>
                  <a:ext uri="{FF2B5EF4-FFF2-40B4-BE49-F238E27FC236}">
                    <a16:creationId xmlns:a16="http://schemas.microsoft.com/office/drawing/2014/main" id="{DAE5DAA9-36AC-4011-B677-64491276B2B4}"/>
                  </a:ext>
                </a:extLst>
              </p:cNvPr>
              <p:cNvSpPr/>
              <p:nvPr/>
            </p:nvSpPr>
            <p:spPr>
              <a:xfrm>
                <a:off x="4371975" y="2234045"/>
                <a:ext cx="400050" cy="4114800"/>
              </a:xfrm>
              <a:prstGeom prst="trapezoid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4" name="Oval 343">
                <a:extLst>
                  <a:ext uri="{FF2B5EF4-FFF2-40B4-BE49-F238E27FC236}">
                    <a16:creationId xmlns:a16="http://schemas.microsoft.com/office/drawing/2014/main" id="{91402804-AB60-4C3E-9982-B3BD33849A98}"/>
                  </a:ext>
                </a:extLst>
              </p:cNvPr>
              <p:cNvSpPr/>
              <p:nvPr/>
            </p:nvSpPr>
            <p:spPr>
              <a:xfrm>
                <a:off x="4281343" y="1776845"/>
                <a:ext cx="581314" cy="5813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5" name="Oval 344">
                <a:extLst>
                  <a:ext uri="{FF2B5EF4-FFF2-40B4-BE49-F238E27FC236}">
                    <a16:creationId xmlns:a16="http://schemas.microsoft.com/office/drawing/2014/main" id="{3C7845DD-0F56-4F51-819C-E8C3895A0ACB}"/>
                  </a:ext>
                </a:extLst>
              </p:cNvPr>
              <p:cNvSpPr/>
              <p:nvPr/>
            </p:nvSpPr>
            <p:spPr>
              <a:xfrm>
                <a:off x="4416136" y="1911638"/>
                <a:ext cx="311727" cy="311727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35D619A3-B3E1-48B2-9815-CB0A7EFDE0B4}"/>
              </a:ext>
            </a:extLst>
          </p:cNvPr>
          <p:cNvGrpSpPr/>
          <p:nvPr/>
        </p:nvGrpSpPr>
        <p:grpSpPr>
          <a:xfrm>
            <a:off x="6131623" y="5033660"/>
            <a:ext cx="1358773" cy="2296162"/>
            <a:chOff x="2820309" y="378736"/>
            <a:chExt cx="3654564" cy="6175768"/>
          </a:xfrm>
        </p:grpSpPr>
        <p:sp>
          <p:nvSpPr>
            <p:cNvPr id="235" name="Oval 234">
              <a:extLst>
                <a:ext uri="{FF2B5EF4-FFF2-40B4-BE49-F238E27FC236}">
                  <a16:creationId xmlns:a16="http://schemas.microsoft.com/office/drawing/2014/main" id="{FF9B2D11-9343-48BB-A5A2-1BA81A40E8B4}"/>
                </a:ext>
              </a:extLst>
            </p:cNvPr>
            <p:cNvSpPr/>
            <p:nvPr/>
          </p:nvSpPr>
          <p:spPr>
            <a:xfrm>
              <a:off x="3007972" y="6213531"/>
              <a:ext cx="2917599" cy="340973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36" name="Group 235">
              <a:extLst>
                <a:ext uri="{FF2B5EF4-FFF2-40B4-BE49-F238E27FC236}">
                  <a16:creationId xmlns:a16="http://schemas.microsoft.com/office/drawing/2014/main" id="{A173A6F9-D82A-45CF-B50D-6973CFAF6B99}"/>
                </a:ext>
              </a:extLst>
            </p:cNvPr>
            <p:cNvGrpSpPr/>
            <p:nvPr/>
          </p:nvGrpSpPr>
          <p:grpSpPr>
            <a:xfrm>
              <a:off x="2820309" y="378736"/>
              <a:ext cx="3654564" cy="6005282"/>
              <a:chOff x="2820309" y="378736"/>
              <a:chExt cx="3654564" cy="6005282"/>
            </a:xfrm>
          </p:grpSpPr>
          <p:sp>
            <p:nvSpPr>
              <p:cNvPr id="237" name="Oval 236">
                <a:extLst>
                  <a:ext uri="{FF2B5EF4-FFF2-40B4-BE49-F238E27FC236}">
                    <a16:creationId xmlns:a16="http://schemas.microsoft.com/office/drawing/2014/main" id="{0CDAD1ED-A3F0-47DD-8DB1-4B106FF2B86F}"/>
                  </a:ext>
                </a:extLst>
              </p:cNvPr>
              <p:cNvSpPr/>
              <p:nvPr/>
            </p:nvSpPr>
            <p:spPr>
              <a:xfrm>
                <a:off x="3147673" y="871875"/>
                <a:ext cx="2892653" cy="2892653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8" name="Oval 237">
                <a:extLst>
                  <a:ext uri="{FF2B5EF4-FFF2-40B4-BE49-F238E27FC236}">
                    <a16:creationId xmlns:a16="http://schemas.microsoft.com/office/drawing/2014/main" id="{7475F716-A5A5-4212-99E6-5FB6470B7193}"/>
                  </a:ext>
                </a:extLst>
              </p:cNvPr>
              <p:cNvSpPr/>
              <p:nvPr/>
            </p:nvSpPr>
            <p:spPr>
              <a:xfrm>
                <a:off x="3922657" y="2642142"/>
                <a:ext cx="745216" cy="74521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39" name="Group 238">
                <a:extLst>
                  <a:ext uri="{FF2B5EF4-FFF2-40B4-BE49-F238E27FC236}">
                    <a16:creationId xmlns:a16="http://schemas.microsoft.com/office/drawing/2014/main" id="{46B01C26-6586-43EB-8125-A91C9ACC858F}"/>
                  </a:ext>
                </a:extLst>
              </p:cNvPr>
              <p:cNvGrpSpPr/>
              <p:nvPr/>
            </p:nvGrpSpPr>
            <p:grpSpPr>
              <a:xfrm>
                <a:off x="3439887" y="473982"/>
                <a:ext cx="2026556" cy="5910036"/>
                <a:chOff x="7271658" y="947964"/>
                <a:chExt cx="2026556" cy="5910036"/>
              </a:xfrm>
            </p:grpSpPr>
            <p:grpSp>
              <p:nvGrpSpPr>
                <p:cNvPr id="252" name="Group 251">
                  <a:extLst>
                    <a:ext uri="{FF2B5EF4-FFF2-40B4-BE49-F238E27FC236}">
                      <a16:creationId xmlns:a16="http://schemas.microsoft.com/office/drawing/2014/main" id="{D0CB3ED4-6B79-4864-9D68-A87B2071DE9D}"/>
                    </a:ext>
                  </a:extLst>
                </p:cNvPr>
                <p:cNvGrpSpPr/>
                <p:nvPr/>
              </p:nvGrpSpPr>
              <p:grpSpPr>
                <a:xfrm>
                  <a:off x="8069943" y="2324100"/>
                  <a:ext cx="457200" cy="4533900"/>
                  <a:chOff x="8069943" y="2324100"/>
                  <a:chExt cx="457200" cy="4533900"/>
                </a:xfrm>
              </p:grpSpPr>
              <p:sp>
                <p:nvSpPr>
                  <p:cNvPr id="257" name="Freeform: Shape 256">
                    <a:extLst>
                      <a:ext uri="{FF2B5EF4-FFF2-40B4-BE49-F238E27FC236}">
                        <a16:creationId xmlns:a16="http://schemas.microsoft.com/office/drawing/2014/main" id="{B0C42D8C-ED45-4049-B36F-3A7D2A4E7B42}"/>
                      </a:ext>
                    </a:extLst>
                  </p:cNvPr>
                  <p:cNvSpPr/>
                  <p:nvPr/>
                </p:nvSpPr>
                <p:spPr>
                  <a:xfrm>
                    <a:off x="8298543" y="2324100"/>
                    <a:ext cx="228600" cy="4533900"/>
                  </a:xfrm>
                  <a:custGeom>
                    <a:avLst/>
                    <a:gdLst>
                      <a:gd name="connsiteX0" fmla="*/ 0 w 228600"/>
                      <a:gd name="connsiteY0" fmla="*/ 0 h 4533900"/>
                      <a:gd name="connsiteX1" fmla="*/ 1143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0" y="0"/>
                        </a:moveTo>
                        <a:lnTo>
                          <a:pt x="1143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258" name="Freeform: Shape 257">
                    <a:extLst>
                      <a:ext uri="{FF2B5EF4-FFF2-40B4-BE49-F238E27FC236}">
                        <a16:creationId xmlns:a16="http://schemas.microsoft.com/office/drawing/2014/main" id="{A6FD5B3F-AEBE-4A90-B431-53EAE9914883}"/>
                      </a:ext>
                    </a:extLst>
                  </p:cNvPr>
                  <p:cNvSpPr/>
                  <p:nvPr/>
                </p:nvSpPr>
                <p:spPr>
                  <a:xfrm>
                    <a:off x="8069943" y="2324100"/>
                    <a:ext cx="228600" cy="4533900"/>
                  </a:xfrm>
                  <a:custGeom>
                    <a:avLst/>
                    <a:gdLst>
                      <a:gd name="connsiteX0" fmla="*/ 114300 w 228600"/>
                      <a:gd name="connsiteY0" fmla="*/ 0 h 4533900"/>
                      <a:gd name="connsiteX1" fmla="*/ 228600 w 228600"/>
                      <a:gd name="connsiteY1" fmla="*/ 0 h 4533900"/>
                      <a:gd name="connsiteX2" fmla="*/ 228600 w 228600"/>
                      <a:gd name="connsiteY2" fmla="*/ 4533900 h 4533900"/>
                      <a:gd name="connsiteX3" fmla="*/ 0 w 228600"/>
                      <a:gd name="connsiteY3" fmla="*/ 4533900 h 4533900"/>
                      <a:gd name="connsiteX4" fmla="*/ 114300 w 228600"/>
                      <a:gd name="connsiteY4" fmla="*/ 0 h 45339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28600" h="4533900">
                        <a:moveTo>
                          <a:pt x="114300" y="0"/>
                        </a:moveTo>
                        <a:lnTo>
                          <a:pt x="228600" y="0"/>
                        </a:lnTo>
                        <a:lnTo>
                          <a:pt x="228600" y="4533900"/>
                        </a:lnTo>
                        <a:lnTo>
                          <a:pt x="0" y="4533900"/>
                        </a:lnTo>
                        <a:lnTo>
                          <a:pt x="114300" y="0"/>
                        </a:lnTo>
                        <a:close/>
                      </a:path>
                    </a:pathLst>
                  </a:cu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</p:grpSp>
            <p:sp>
              <p:nvSpPr>
                <p:cNvPr id="253" name="Block Arc 252">
                  <a:extLst>
                    <a:ext uri="{FF2B5EF4-FFF2-40B4-BE49-F238E27FC236}">
                      <a16:creationId xmlns:a16="http://schemas.microsoft.com/office/drawing/2014/main" id="{35357A2A-883B-4F6F-863C-C368F343DCDE}"/>
                    </a:ext>
                  </a:extLst>
                </p:cNvPr>
                <p:cNvSpPr/>
                <p:nvPr/>
              </p:nvSpPr>
              <p:spPr>
                <a:xfrm rot="16200000">
                  <a:off x="7271658" y="2061029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4" name="Block Arc 253">
                  <a:extLst>
                    <a:ext uri="{FF2B5EF4-FFF2-40B4-BE49-F238E27FC236}">
                      <a16:creationId xmlns:a16="http://schemas.microsoft.com/office/drawing/2014/main" id="{FDEAC806-B84C-467D-A7C0-DEBC461FD346}"/>
                    </a:ext>
                  </a:extLst>
                </p:cNvPr>
                <p:cNvSpPr/>
                <p:nvPr/>
              </p:nvSpPr>
              <p:spPr>
                <a:xfrm rot="16200000">
                  <a:off x="7300686" y="947964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5" name="Block Arc 254">
                  <a:extLst>
                    <a:ext uri="{FF2B5EF4-FFF2-40B4-BE49-F238E27FC236}">
                      <a16:creationId xmlns:a16="http://schemas.microsoft.com/office/drawing/2014/main" id="{D18AEFE0-1B54-48AA-9E21-F6CE856E7129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2669268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56" name="Block Arc 255">
                  <a:extLst>
                    <a:ext uri="{FF2B5EF4-FFF2-40B4-BE49-F238E27FC236}">
                      <a16:creationId xmlns:a16="http://schemas.microsoft.com/office/drawing/2014/main" id="{D819A5C0-DFE5-4DEF-9659-E0AC9CD94080}"/>
                    </a:ext>
                  </a:extLst>
                </p:cNvPr>
                <p:cNvSpPr/>
                <p:nvPr/>
              </p:nvSpPr>
              <p:spPr>
                <a:xfrm rot="5400000" flipH="1">
                  <a:off x="7527471" y="1544411"/>
                  <a:ext cx="1770743" cy="1770743"/>
                </a:xfrm>
                <a:prstGeom prst="blockArc">
                  <a:avLst>
                    <a:gd name="adj1" fmla="val 10800000"/>
                    <a:gd name="adj2" fmla="val 16234411"/>
                    <a:gd name="adj3" fmla="val 9014"/>
                  </a:avLst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40" name="Group 239">
                <a:extLst>
                  <a:ext uri="{FF2B5EF4-FFF2-40B4-BE49-F238E27FC236}">
                    <a16:creationId xmlns:a16="http://schemas.microsoft.com/office/drawing/2014/main" id="{296077CF-AE98-470A-9724-3EB300C7B148}"/>
                  </a:ext>
                </a:extLst>
              </p:cNvPr>
              <p:cNvGrpSpPr/>
              <p:nvPr/>
            </p:nvGrpSpPr>
            <p:grpSpPr>
              <a:xfrm>
                <a:off x="2820309" y="1647146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250" name="Freeform: Shape 249">
                  <a:extLst>
                    <a:ext uri="{FF2B5EF4-FFF2-40B4-BE49-F238E27FC236}">
                      <a16:creationId xmlns:a16="http://schemas.microsoft.com/office/drawing/2014/main" id="{AB47995A-F112-48D5-BFFF-BC286A3CC541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1" name="Freeform: Shape 250">
                  <a:extLst>
                    <a:ext uri="{FF2B5EF4-FFF2-40B4-BE49-F238E27FC236}">
                      <a16:creationId xmlns:a16="http://schemas.microsoft.com/office/drawing/2014/main" id="{A6661DF0-F095-4ED0-AB69-017A36E418A0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41" name="Group 240">
                <a:extLst>
                  <a:ext uri="{FF2B5EF4-FFF2-40B4-BE49-F238E27FC236}">
                    <a16:creationId xmlns:a16="http://schemas.microsoft.com/office/drawing/2014/main" id="{7EC7D0BB-0450-4565-ABCC-0F1B8BD486C4}"/>
                  </a:ext>
                </a:extLst>
              </p:cNvPr>
              <p:cNvGrpSpPr/>
              <p:nvPr/>
            </p:nvGrpSpPr>
            <p:grpSpPr>
              <a:xfrm>
                <a:off x="3242130" y="674802"/>
                <a:ext cx="1307872" cy="1307872"/>
                <a:chOff x="3193143" y="1833336"/>
                <a:chExt cx="2757714" cy="2757714"/>
              </a:xfrm>
            </p:grpSpPr>
            <p:sp>
              <p:nvSpPr>
                <p:cNvPr id="248" name="Freeform: Shape 247">
                  <a:extLst>
                    <a:ext uri="{FF2B5EF4-FFF2-40B4-BE49-F238E27FC236}">
                      <a16:creationId xmlns:a16="http://schemas.microsoft.com/office/drawing/2014/main" id="{41FC3C5A-F9B6-4535-A854-3EF0CB532F82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9" name="Freeform: Shape 248">
                  <a:extLst>
                    <a:ext uri="{FF2B5EF4-FFF2-40B4-BE49-F238E27FC236}">
                      <a16:creationId xmlns:a16="http://schemas.microsoft.com/office/drawing/2014/main" id="{AFD21B21-DC17-4309-82A6-8DF4C4BFACC0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42" name="Group 241">
                <a:extLst>
                  <a:ext uri="{FF2B5EF4-FFF2-40B4-BE49-F238E27FC236}">
                    <a16:creationId xmlns:a16="http://schemas.microsoft.com/office/drawing/2014/main" id="{E4E3E0BA-2787-4EEC-869E-CA656F5DA010}"/>
                  </a:ext>
                </a:extLst>
              </p:cNvPr>
              <p:cNvGrpSpPr/>
              <p:nvPr/>
            </p:nvGrpSpPr>
            <p:grpSpPr>
              <a:xfrm>
                <a:off x="4972506" y="2589893"/>
                <a:ext cx="933447" cy="933447"/>
                <a:chOff x="3193143" y="1833336"/>
                <a:chExt cx="2757714" cy="2757714"/>
              </a:xfrm>
            </p:grpSpPr>
            <p:sp>
              <p:nvSpPr>
                <p:cNvPr id="246" name="Freeform: Shape 245">
                  <a:extLst>
                    <a:ext uri="{FF2B5EF4-FFF2-40B4-BE49-F238E27FC236}">
                      <a16:creationId xmlns:a16="http://schemas.microsoft.com/office/drawing/2014/main" id="{51B53A6A-CBD5-45DB-8B96-633048B76E98}"/>
                    </a:ext>
                  </a:extLst>
                </p:cNvPr>
                <p:cNvSpPr/>
                <p:nvPr/>
              </p:nvSpPr>
              <p:spPr>
                <a:xfrm>
                  <a:off x="4572000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7" name="Freeform: Shape 246">
                  <a:extLst>
                    <a:ext uri="{FF2B5EF4-FFF2-40B4-BE49-F238E27FC236}">
                      <a16:creationId xmlns:a16="http://schemas.microsoft.com/office/drawing/2014/main" id="{1B4DADAD-507D-4C17-B75B-297DD08DB282}"/>
                    </a:ext>
                  </a:extLst>
                </p:cNvPr>
                <p:cNvSpPr/>
                <p:nvPr/>
              </p:nvSpPr>
              <p:spPr>
                <a:xfrm>
                  <a:off x="3193143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43" name="Group 242">
                <a:extLst>
                  <a:ext uri="{FF2B5EF4-FFF2-40B4-BE49-F238E27FC236}">
                    <a16:creationId xmlns:a16="http://schemas.microsoft.com/office/drawing/2014/main" id="{78EAC055-BA18-457C-936D-C35FA62B685C}"/>
                  </a:ext>
                </a:extLst>
              </p:cNvPr>
              <p:cNvGrpSpPr/>
              <p:nvPr/>
            </p:nvGrpSpPr>
            <p:grpSpPr>
              <a:xfrm>
                <a:off x="4194006" y="378736"/>
                <a:ext cx="2280867" cy="2280867"/>
                <a:chOff x="3193144" y="1833336"/>
                <a:chExt cx="2757714" cy="2757714"/>
              </a:xfrm>
            </p:grpSpPr>
            <p:sp>
              <p:nvSpPr>
                <p:cNvPr id="244" name="Freeform: Shape 243">
                  <a:extLst>
                    <a:ext uri="{FF2B5EF4-FFF2-40B4-BE49-F238E27FC236}">
                      <a16:creationId xmlns:a16="http://schemas.microsoft.com/office/drawing/2014/main" id="{87DEC495-3709-48F1-AC12-3DAFEA5125B8}"/>
                    </a:ext>
                  </a:extLst>
                </p:cNvPr>
                <p:cNvSpPr/>
                <p:nvPr/>
              </p:nvSpPr>
              <p:spPr>
                <a:xfrm>
                  <a:off x="4572001" y="1833336"/>
                  <a:ext cx="1378857" cy="2757714"/>
                </a:xfrm>
                <a:custGeom>
                  <a:avLst/>
                  <a:gdLst>
                    <a:gd name="connsiteX0" fmla="*/ 0 w 1378857"/>
                    <a:gd name="connsiteY0" fmla="*/ 0 h 2757714"/>
                    <a:gd name="connsiteX1" fmla="*/ 1378857 w 1378857"/>
                    <a:gd name="connsiteY1" fmla="*/ 1378857 h 2757714"/>
                    <a:gd name="connsiteX2" fmla="*/ 0 w 1378857"/>
                    <a:gd name="connsiteY2" fmla="*/ 2757714 h 2757714"/>
                    <a:gd name="connsiteX3" fmla="*/ 0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0" y="0"/>
                      </a:moveTo>
                      <a:cubicBezTo>
                        <a:pt x="761522" y="0"/>
                        <a:pt x="1378857" y="617335"/>
                        <a:pt x="1378857" y="1378857"/>
                      </a:cubicBezTo>
                      <a:cubicBezTo>
                        <a:pt x="1378857" y="2140379"/>
                        <a:pt x="761522" y="2757714"/>
                        <a:pt x="0" y="27577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5" name="Freeform: Shape 244">
                  <a:extLst>
                    <a:ext uri="{FF2B5EF4-FFF2-40B4-BE49-F238E27FC236}">
                      <a16:creationId xmlns:a16="http://schemas.microsoft.com/office/drawing/2014/main" id="{C32A7205-6EB9-4472-9A5A-086628555230}"/>
                    </a:ext>
                  </a:extLst>
                </p:cNvPr>
                <p:cNvSpPr/>
                <p:nvPr/>
              </p:nvSpPr>
              <p:spPr>
                <a:xfrm>
                  <a:off x="3193144" y="1833336"/>
                  <a:ext cx="1378857" cy="2757714"/>
                </a:xfrm>
                <a:custGeom>
                  <a:avLst/>
                  <a:gdLst>
                    <a:gd name="connsiteX0" fmla="*/ 1378857 w 1378857"/>
                    <a:gd name="connsiteY0" fmla="*/ 0 h 2757714"/>
                    <a:gd name="connsiteX1" fmla="*/ 1378857 w 1378857"/>
                    <a:gd name="connsiteY1" fmla="*/ 2757714 h 2757714"/>
                    <a:gd name="connsiteX2" fmla="*/ 0 w 1378857"/>
                    <a:gd name="connsiteY2" fmla="*/ 1378857 h 2757714"/>
                    <a:gd name="connsiteX3" fmla="*/ 1378857 w 1378857"/>
                    <a:gd name="connsiteY3" fmla="*/ 0 h 27577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378857" h="2757714">
                      <a:moveTo>
                        <a:pt x="1378857" y="0"/>
                      </a:moveTo>
                      <a:lnTo>
                        <a:pt x="1378857" y="2757714"/>
                      </a:lnTo>
                      <a:cubicBezTo>
                        <a:pt x="617335" y="2757714"/>
                        <a:pt x="0" y="2140379"/>
                        <a:pt x="0" y="1378857"/>
                      </a:cubicBezTo>
                      <a:cubicBezTo>
                        <a:pt x="0" y="617335"/>
                        <a:pt x="617335" y="0"/>
                        <a:pt x="1378857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grpSp>
        <p:nvGrpSpPr>
          <p:cNvPr id="380" name="Group 379">
            <a:extLst>
              <a:ext uri="{FF2B5EF4-FFF2-40B4-BE49-F238E27FC236}">
                <a16:creationId xmlns:a16="http://schemas.microsoft.com/office/drawing/2014/main" id="{CA5146DE-D500-46AB-8F48-986978611BD9}"/>
              </a:ext>
            </a:extLst>
          </p:cNvPr>
          <p:cNvGrpSpPr/>
          <p:nvPr/>
        </p:nvGrpSpPr>
        <p:grpSpPr>
          <a:xfrm>
            <a:off x="4582968" y="4966249"/>
            <a:ext cx="651814" cy="557603"/>
            <a:chOff x="3976307" y="2940445"/>
            <a:chExt cx="1865693" cy="1596033"/>
          </a:xfrm>
        </p:grpSpPr>
        <p:sp>
          <p:nvSpPr>
            <p:cNvPr id="381" name="Oval 380">
              <a:extLst>
                <a:ext uri="{FF2B5EF4-FFF2-40B4-BE49-F238E27FC236}">
                  <a16:creationId xmlns:a16="http://schemas.microsoft.com/office/drawing/2014/main" id="{1E5C6F6B-6EBB-40AA-965A-ED472A412262}"/>
                </a:ext>
              </a:extLst>
            </p:cNvPr>
            <p:cNvSpPr/>
            <p:nvPr/>
          </p:nvSpPr>
          <p:spPr>
            <a:xfrm>
              <a:off x="3976853" y="4330103"/>
              <a:ext cx="1644541" cy="206375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2" name="Rectangle 381">
              <a:extLst>
                <a:ext uri="{FF2B5EF4-FFF2-40B4-BE49-F238E27FC236}">
                  <a16:creationId xmlns:a16="http://schemas.microsoft.com/office/drawing/2014/main" id="{71E02608-4C80-4CE2-B861-D00F64F01885}"/>
                </a:ext>
              </a:extLst>
            </p:cNvPr>
            <p:cNvSpPr/>
            <p:nvPr/>
          </p:nvSpPr>
          <p:spPr>
            <a:xfrm>
              <a:off x="5128339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3" name="Rectangle 382">
              <a:extLst>
                <a:ext uri="{FF2B5EF4-FFF2-40B4-BE49-F238E27FC236}">
                  <a16:creationId xmlns:a16="http://schemas.microsoft.com/office/drawing/2014/main" id="{BDBEA354-0633-4E8F-A757-C12FE5DD8151}"/>
                </a:ext>
              </a:extLst>
            </p:cNvPr>
            <p:cNvSpPr/>
            <p:nvPr/>
          </p:nvSpPr>
          <p:spPr>
            <a:xfrm>
              <a:off x="4341430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4" name="Parallelogram 383">
              <a:extLst>
                <a:ext uri="{FF2B5EF4-FFF2-40B4-BE49-F238E27FC236}">
                  <a16:creationId xmlns:a16="http://schemas.microsoft.com/office/drawing/2014/main" id="{2C6B9F66-4938-4573-A5C8-AC8C609B89C7}"/>
                </a:ext>
              </a:extLst>
            </p:cNvPr>
            <p:cNvSpPr/>
            <p:nvPr/>
          </p:nvSpPr>
          <p:spPr>
            <a:xfrm>
              <a:off x="3976307" y="2940445"/>
              <a:ext cx="1865693" cy="1110457"/>
            </a:xfrm>
            <a:prstGeom prst="parallelogram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5" name="Parallelogram 384">
              <a:extLst>
                <a:ext uri="{FF2B5EF4-FFF2-40B4-BE49-F238E27FC236}">
                  <a16:creationId xmlns:a16="http://schemas.microsoft.com/office/drawing/2014/main" id="{38B96D45-0528-42AF-B55F-DF7DBEF65836}"/>
                </a:ext>
              </a:extLst>
            </p:cNvPr>
            <p:cNvSpPr/>
            <p:nvPr/>
          </p:nvSpPr>
          <p:spPr>
            <a:xfrm>
              <a:off x="4210050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6" name="Parallelogram 385">
              <a:extLst>
                <a:ext uri="{FF2B5EF4-FFF2-40B4-BE49-F238E27FC236}">
                  <a16:creationId xmlns:a16="http://schemas.microsoft.com/office/drawing/2014/main" id="{D1C18DCC-8A55-4553-84C5-58FCB4CB112A}"/>
                </a:ext>
              </a:extLst>
            </p:cNvPr>
            <p:cNvSpPr/>
            <p:nvPr/>
          </p:nvSpPr>
          <p:spPr>
            <a:xfrm>
              <a:off x="4602766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7" name="Parallelogram 386">
              <a:extLst>
                <a:ext uri="{FF2B5EF4-FFF2-40B4-BE49-F238E27FC236}">
                  <a16:creationId xmlns:a16="http://schemas.microsoft.com/office/drawing/2014/main" id="{DCD997E0-66B0-4678-9A7C-8B289FB024E3}"/>
                </a:ext>
              </a:extLst>
            </p:cNvPr>
            <p:cNvSpPr/>
            <p:nvPr/>
          </p:nvSpPr>
          <p:spPr>
            <a:xfrm>
              <a:off x="4995482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8" name="Parallelogram 387">
              <a:extLst>
                <a:ext uri="{FF2B5EF4-FFF2-40B4-BE49-F238E27FC236}">
                  <a16:creationId xmlns:a16="http://schemas.microsoft.com/office/drawing/2014/main" id="{8E644E05-18C4-43EE-9A3A-D50679D1A462}"/>
                </a:ext>
              </a:extLst>
            </p:cNvPr>
            <p:cNvSpPr/>
            <p:nvPr/>
          </p:nvSpPr>
          <p:spPr>
            <a:xfrm>
              <a:off x="5388198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9" name="Parallelogram 388">
              <a:extLst>
                <a:ext uri="{FF2B5EF4-FFF2-40B4-BE49-F238E27FC236}">
                  <a16:creationId xmlns:a16="http://schemas.microsoft.com/office/drawing/2014/main" id="{1531AC89-BFEC-4764-AAD2-6C7F44419A17}"/>
                </a:ext>
              </a:extLst>
            </p:cNvPr>
            <p:cNvSpPr/>
            <p:nvPr/>
          </p:nvSpPr>
          <p:spPr>
            <a:xfrm>
              <a:off x="4119563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0" name="Parallelogram 389">
              <a:extLst>
                <a:ext uri="{FF2B5EF4-FFF2-40B4-BE49-F238E27FC236}">
                  <a16:creationId xmlns:a16="http://schemas.microsoft.com/office/drawing/2014/main" id="{7A70EDBD-E7D4-4CD8-8C84-1F54EE010DCE}"/>
                </a:ext>
              </a:extLst>
            </p:cNvPr>
            <p:cNvSpPr/>
            <p:nvPr/>
          </p:nvSpPr>
          <p:spPr>
            <a:xfrm>
              <a:off x="4512279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1" name="Parallelogram 390">
              <a:extLst>
                <a:ext uri="{FF2B5EF4-FFF2-40B4-BE49-F238E27FC236}">
                  <a16:creationId xmlns:a16="http://schemas.microsoft.com/office/drawing/2014/main" id="{AF9AAAD5-36DF-4E96-8B93-393F99704945}"/>
                </a:ext>
              </a:extLst>
            </p:cNvPr>
            <p:cNvSpPr/>
            <p:nvPr/>
          </p:nvSpPr>
          <p:spPr>
            <a:xfrm>
              <a:off x="4904995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2" name="Parallelogram 391">
              <a:extLst>
                <a:ext uri="{FF2B5EF4-FFF2-40B4-BE49-F238E27FC236}">
                  <a16:creationId xmlns:a16="http://schemas.microsoft.com/office/drawing/2014/main" id="{0B369971-7DF6-4E8D-8511-E51340160268}"/>
                </a:ext>
              </a:extLst>
            </p:cNvPr>
            <p:cNvSpPr/>
            <p:nvPr/>
          </p:nvSpPr>
          <p:spPr>
            <a:xfrm>
              <a:off x="5297711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3" name="Parallelogram 392">
              <a:extLst>
                <a:ext uri="{FF2B5EF4-FFF2-40B4-BE49-F238E27FC236}">
                  <a16:creationId xmlns:a16="http://schemas.microsoft.com/office/drawing/2014/main" id="{F28398B9-E587-4DB3-B124-EABDFBB359A3}"/>
                </a:ext>
              </a:extLst>
            </p:cNvPr>
            <p:cNvSpPr/>
            <p:nvPr/>
          </p:nvSpPr>
          <p:spPr>
            <a:xfrm>
              <a:off x="4033837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4" name="Parallelogram 393">
              <a:extLst>
                <a:ext uri="{FF2B5EF4-FFF2-40B4-BE49-F238E27FC236}">
                  <a16:creationId xmlns:a16="http://schemas.microsoft.com/office/drawing/2014/main" id="{F6D659C7-9E86-4C75-B455-A2A48AC4AA50}"/>
                </a:ext>
              </a:extLst>
            </p:cNvPr>
            <p:cNvSpPr/>
            <p:nvPr/>
          </p:nvSpPr>
          <p:spPr>
            <a:xfrm>
              <a:off x="4426553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5" name="Parallelogram 394">
              <a:extLst>
                <a:ext uri="{FF2B5EF4-FFF2-40B4-BE49-F238E27FC236}">
                  <a16:creationId xmlns:a16="http://schemas.microsoft.com/office/drawing/2014/main" id="{1C09D976-3536-4F0B-A21D-54EDE6741EF2}"/>
                </a:ext>
              </a:extLst>
            </p:cNvPr>
            <p:cNvSpPr/>
            <p:nvPr/>
          </p:nvSpPr>
          <p:spPr>
            <a:xfrm>
              <a:off x="4819269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6" name="Parallelogram 395">
              <a:extLst>
                <a:ext uri="{FF2B5EF4-FFF2-40B4-BE49-F238E27FC236}">
                  <a16:creationId xmlns:a16="http://schemas.microsoft.com/office/drawing/2014/main" id="{E2B8BEE1-4074-444F-8F91-7C36D26D6F41}"/>
                </a:ext>
              </a:extLst>
            </p:cNvPr>
            <p:cNvSpPr/>
            <p:nvPr/>
          </p:nvSpPr>
          <p:spPr>
            <a:xfrm>
              <a:off x="5211985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7" name="Group 396">
            <a:extLst>
              <a:ext uri="{FF2B5EF4-FFF2-40B4-BE49-F238E27FC236}">
                <a16:creationId xmlns:a16="http://schemas.microsoft.com/office/drawing/2014/main" id="{CF62E68C-28B9-4F9F-83BE-B23B1E045889}"/>
              </a:ext>
            </a:extLst>
          </p:cNvPr>
          <p:cNvGrpSpPr/>
          <p:nvPr/>
        </p:nvGrpSpPr>
        <p:grpSpPr>
          <a:xfrm>
            <a:off x="5288941" y="4966249"/>
            <a:ext cx="651814" cy="557603"/>
            <a:chOff x="3976307" y="2940445"/>
            <a:chExt cx="1865693" cy="1596033"/>
          </a:xfrm>
        </p:grpSpPr>
        <p:sp>
          <p:nvSpPr>
            <p:cNvPr id="398" name="Oval 397">
              <a:extLst>
                <a:ext uri="{FF2B5EF4-FFF2-40B4-BE49-F238E27FC236}">
                  <a16:creationId xmlns:a16="http://schemas.microsoft.com/office/drawing/2014/main" id="{43CE74A4-59A1-431D-AA33-A7C7C342479D}"/>
                </a:ext>
              </a:extLst>
            </p:cNvPr>
            <p:cNvSpPr/>
            <p:nvPr/>
          </p:nvSpPr>
          <p:spPr>
            <a:xfrm>
              <a:off x="3976853" y="4330103"/>
              <a:ext cx="1644541" cy="206375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9" name="Rectangle 398">
              <a:extLst>
                <a:ext uri="{FF2B5EF4-FFF2-40B4-BE49-F238E27FC236}">
                  <a16:creationId xmlns:a16="http://schemas.microsoft.com/office/drawing/2014/main" id="{855F04C2-5805-46D9-83C3-9A983C8D212B}"/>
                </a:ext>
              </a:extLst>
            </p:cNvPr>
            <p:cNvSpPr/>
            <p:nvPr/>
          </p:nvSpPr>
          <p:spPr>
            <a:xfrm>
              <a:off x="5128339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0" name="Rectangle 399">
              <a:extLst>
                <a:ext uri="{FF2B5EF4-FFF2-40B4-BE49-F238E27FC236}">
                  <a16:creationId xmlns:a16="http://schemas.microsoft.com/office/drawing/2014/main" id="{B864F8EB-F2D8-4D25-8018-4C27BC44271B}"/>
                </a:ext>
              </a:extLst>
            </p:cNvPr>
            <p:cNvSpPr/>
            <p:nvPr/>
          </p:nvSpPr>
          <p:spPr>
            <a:xfrm>
              <a:off x="4341430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1" name="Parallelogram 400">
              <a:extLst>
                <a:ext uri="{FF2B5EF4-FFF2-40B4-BE49-F238E27FC236}">
                  <a16:creationId xmlns:a16="http://schemas.microsoft.com/office/drawing/2014/main" id="{8DCE9DAD-6E9D-476C-B31A-893222AF5ACB}"/>
                </a:ext>
              </a:extLst>
            </p:cNvPr>
            <p:cNvSpPr/>
            <p:nvPr/>
          </p:nvSpPr>
          <p:spPr>
            <a:xfrm>
              <a:off x="3976307" y="2940445"/>
              <a:ext cx="1865693" cy="1110457"/>
            </a:xfrm>
            <a:prstGeom prst="parallelogram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2" name="Parallelogram 401">
              <a:extLst>
                <a:ext uri="{FF2B5EF4-FFF2-40B4-BE49-F238E27FC236}">
                  <a16:creationId xmlns:a16="http://schemas.microsoft.com/office/drawing/2014/main" id="{22EFD891-0AAA-4F30-B0D7-0C40A6191C29}"/>
                </a:ext>
              </a:extLst>
            </p:cNvPr>
            <p:cNvSpPr/>
            <p:nvPr/>
          </p:nvSpPr>
          <p:spPr>
            <a:xfrm>
              <a:off x="4210050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3" name="Parallelogram 402">
              <a:extLst>
                <a:ext uri="{FF2B5EF4-FFF2-40B4-BE49-F238E27FC236}">
                  <a16:creationId xmlns:a16="http://schemas.microsoft.com/office/drawing/2014/main" id="{9D082D0B-C0C4-44CC-B080-4379008FC7F7}"/>
                </a:ext>
              </a:extLst>
            </p:cNvPr>
            <p:cNvSpPr/>
            <p:nvPr/>
          </p:nvSpPr>
          <p:spPr>
            <a:xfrm>
              <a:off x="4602766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4" name="Parallelogram 403">
              <a:extLst>
                <a:ext uri="{FF2B5EF4-FFF2-40B4-BE49-F238E27FC236}">
                  <a16:creationId xmlns:a16="http://schemas.microsoft.com/office/drawing/2014/main" id="{F690F831-920A-4D76-86EF-995F70D3281B}"/>
                </a:ext>
              </a:extLst>
            </p:cNvPr>
            <p:cNvSpPr/>
            <p:nvPr/>
          </p:nvSpPr>
          <p:spPr>
            <a:xfrm>
              <a:off x="4995482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5" name="Parallelogram 404">
              <a:extLst>
                <a:ext uri="{FF2B5EF4-FFF2-40B4-BE49-F238E27FC236}">
                  <a16:creationId xmlns:a16="http://schemas.microsoft.com/office/drawing/2014/main" id="{73B93333-9D6A-473B-984B-F88E5DEA2674}"/>
                </a:ext>
              </a:extLst>
            </p:cNvPr>
            <p:cNvSpPr/>
            <p:nvPr/>
          </p:nvSpPr>
          <p:spPr>
            <a:xfrm>
              <a:off x="5388198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6" name="Parallelogram 405">
              <a:extLst>
                <a:ext uri="{FF2B5EF4-FFF2-40B4-BE49-F238E27FC236}">
                  <a16:creationId xmlns:a16="http://schemas.microsoft.com/office/drawing/2014/main" id="{AB5AF30F-7930-4BE3-B347-579E7BF45CAB}"/>
                </a:ext>
              </a:extLst>
            </p:cNvPr>
            <p:cNvSpPr/>
            <p:nvPr/>
          </p:nvSpPr>
          <p:spPr>
            <a:xfrm>
              <a:off x="4119563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7" name="Parallelogram 406">
              <a:extLst>
                <a:ext uri="{FF2B5EF4-FFF2-40B4-BE49-F238E27FC236}">
                  <a16:creationId xmlns:a16="http://schemas.microsoft.com/office/drawing/2014/main" id="{92DA9773-F239-4900-A78A-686627322770}"/>
                </a:ext>
              </a:extLst>
            </p:cNvPr>
            <p:cNvSpPr/>
            <p:nvPr/>
          </p:nvSpPr>
          <p:spPr>
            <a:xfrm>
              <a:off x="4512279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8" name="Parallelogram 407">
              <a:extLst>
                <a:ext uri="{FF2B5EF4-FFF2-40B4-BE49-F238E27FC236}">
                  <a16:creationId xmlns:a16="http://schemas.microsoft.com/office/drawing/2014/main" id="{FEB9EAD8-2CC7-4281-8B13-9E2145A455AE}"/>
                </a:ext>
              </a:extLst>
            </p:cNvPr>
            <p:cNvSpPr/>
            <p:nvPr/>
          </p:nvSpPr>
          <p:spPr>
            <a:xfrm>
              <a:off x="4904995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9" name="Parallelogram 408">
              <a:extLst>
                <a:ext uri="{FF2B5EF4-FFF2-40B4-BE49-F238E27FC236}">
                  <a16:creationId xmlns:a16="http://schemas.microsoft.com/office/drawing/2014/main" id="{26A1F4E1-F98E-4AE4-89DB-4E53F0742750}"/>
                </a:ext>
              </a:extLst>
            </p:cNvPr>
            <p:cNvSpPr/>
            <p:nvPr/>
          </p:nvSpPr>
          <p:spPr>
            <a:xfrm>
              <a:off x="5297711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0" name="Parallelogram 409">
              <a:extLst>
                <a:ext uri="{FF2B5EF4-FFF2-40B4-BE49-F238E27FC236}">
                  <a16:creationId xmlns:a16="http://schemas.microsoft.com/office/drawing/2014/main" id="{EABE74B2-5879-4DE2-B565-CDD30124A831}"/>
                </a:ext>
              </a:extLst>
            </p:cNvPr>
            <p:cNvSpPr/>
            <p:nvPr/>
          </p:nvSpPr>
          <p:spPr>
            <a:xfrm>
              <a:off x="4033837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1" name="Parallelogram 410">
              <a:extLst>
                <a:ext uri="{FF2B5EF4-FFF2-40B4-BE49-F238E27FC236}">
                  <a16:creationId xmlns:a16="http://schemas.microsoft.com/office/drawing/2014/main" id="{3F6FA6EE-FD07-4872-82DA-24C0E9BA2984}"/>
                </a:ext>
              </a:extLst>
            </p:cNvPr>
            <p:cNvSpPr/>
            <p:nvPr/>
          </p:nvSpPr>
          <p:spPr>
            <a:xfrm>
              <a:off x="4426553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2" name="Parallelogram 411">
              <a:extLst>
                <a:ext uri="{FF2B5EF4-FFF2-40B4-BE49-F238E27FC236}">
                  <a16:creationId xmlns:a16="http://schemas.microsoft.com/office/drawing/2014/main" id="{67A79E9A-69B7-4A95-A338-FFFECF929998}"/>
                </a:ext>
              </a:extLst>
            </p:cNvPr>
            <p:cNvSpPr/>
            <p:nvPr/>
          </p:nvSpPr>
          <p:spPr>
            <a:xfrm>
              <a:off x="4819269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3" name="Parallelogram 412">
              <a:extLst>
                <a:ext uri="{FF2B5EF4-FFF2-40B4-BE49-F238E27FC236}">
                  <a16:creationId xmlns:a16="http://schemas.microsoft.com/office/drawing/2014/main" id="{CDD31625-FCBE-407A-9772-4C6406B32BA5}"/>
                </a:ext>
              </a:extLst>
            </p:cNvPr>
            <p:cNvSpPr/>
            <p:nvPr/>
          </p:nvSpPr>
          <p:spPr>
            <a:xfrm>
              <a:off x="5211985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10" name="Group 309">
            <a:extLst>
              <a:ext uri="{FF2B5EF4-FFF2-40B4-BE49-F238E27FC236}">
                <a16:creationId xmlns:a16="http://schemas.microsoft.com/office/drawing/2014/main" id="{451E49C1-E2E1-4087-B9D7-B5EF2E8ACF88}"/>
              </a:ext>
            </a:extLst>
          </p:cNvPr>
          <p:cNvGrpSpPr/>
          <p:nvPr/>
        </p:nvGrpSpPr>
        <p:grpSpPr>
          <a:xfrm>
            <a:off x="5277424" y="3725251"/>
            <a:ext cx="1287158" cy="2395109"/>
            <a:chOff x="2854597" y="111992"/>
            <a:chExt cx="3438826" cy="6398874"/>
          </a:xfrm>
        </p:grpSpPr>
        <p:sp>
          <p:nvSpPr>
            <p:cNvPr id="311" name="Oval 310">
              <a:extLst>
                <a:ext uri="{FF2B5EF4-FFF2-40B4-BE49-F238E27FC236}">
                  <a16:creationId xmlns:a16="http://schemas.microsoft.com/office/drawing/2014/main" id="{0307DDF0-E655-4A1A-AD18-8C10F113B854}"/>
                </a:ext>
              </a:extLst>
            </p:cNvPr>
            <p:cNvSpPr/>
            <p:nvPr/>
          </p:nvSpPr>
          <p:spPr>
            <a:xfrm>
              <a:off x="3443457" y="6186824"/>
              <a:ext cx="2257086" cy="324042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12" name="Group 311">
              <a:extLst>
                <a:ext uri="{FF2B5EF4-FFF2-40B4-BE49-F238E27FC236}">
                  <a16:creationId xmlns:a16="http://schemas.microsoft.com/office/drawing/2014/main" id="{93B83F56-1B8D-424F-A2B0-9AEA9BDCC588}"/>
                </a:ext>
              </a:extLst>
            </p:cNvPr>
            <p:cNvGrpSpPr/>
            <p:nvPr/>
          </p:nvGrpSpPr>
          <p:grpSpPr>
            <a:xfrm>
              <a:off x="2854597" y="111992"/>
              <a:ext cx="3438826" cy="6236853"/>
              <a:chOff x="2854597" y="111992"/>
              <a:chExt cx="3438826" cy="6236853"/>
            </a:xfrm>
          </p:grpSpPr>
          <p:sp>
            <p:nvSpPr>
              <p:cNvPr id="313" name="Oval 312">
                <a:extLst>
                  <a:ext uri="{FF2B5EF4-FFF2-40B4-BE49-F238E27FC236}">
                    <a16:creationId xmlns:a16="http://schemas.microsoft.com/office/drawing/2014/main" id="{A22F1BF3-1273-4CFF-9E05-A5FE543C2E27}"/>
                  </a:ext>
                </a:extLst>
              </p:cNvPr>
              <p:cNvSpPr/>
              <p:nvPr/>
            </p:nvSpPr>
            <p:spPr>
              <a:xfrm rot="14026178" flipH="1">
                <a:off x="3674396" y="1644238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4" name="Oval 313">
                <a:extLst>
                  <a:ext uri="{FF2B5EF4-FFF2-40B4-BE49-F238E27FC236}">
                    <a16:creationId xmlns:a16="http://schemas.microsoft.com/office/drawing/2014/main" id="{C1CAAB96-4115-455C-8D24-65B9D027E1B0}"/>
                  </a:ext>
                </a:extLst>
              </p:cNvPr>
              <p:cNvSpPr/>
              <p:nvPr/>
            </p:nvSpPr>
            <p:spPr>
              <a:xfrm rot="7573822">
                <a:off x="5219769" y="1626843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5" name="Oval 314">
                <a:extLst>
                  <a:ext uri="{FF2B5EF4-FFF2-40B4-BE49-F238E27FC236}">
                    <a16:creationId xmlns:a16="http://schemas.microsoft.com/office/drawing/2014/main" id="{81CAF783-7100-4F59-90CD-B6341CFDAD11}"/>
                  </a:ext>
                </a:extLst>
              </p:cNvPr>
              <p:cNvSpPr/>
              <p:nvPr/>
            </p:nvSpPr>
            <p:spPr>
              <a:xfrm>
                <a:off x="4445071" y="111992"/>
                <a:ext cx="253855" cy="189345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6" name="Trapezoid 315">
                <a:extLst>
                  <a:ext uri="{FF2B5EF4-FFF2-40B4-BE49-F238E27FC236}">
                    <a16:creationId xmlns:a16="http://schemas.microsoft.com/office/drawing/2014/main" id="{20DF28D0-2195-41A3-91F9-0A54940546F9}"/>
                  </a:ext>
                </a:extLst>
              </p:cNvPr>
              <p:cNvSpPr/>
              <p:nvPr/>
            </p:nvSpPr>
            <p:spPr>
              <a:xfrm>
                <a:off x="4371975" y="2234045"/>
                <a:ext cx="400050" cy="4114800"/>
              </a:xfrm>
              <a:prstGeom prst="trapezoid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7" name="Oval 316">
                <a:extLst>
                  <a:ext uri="{FF2B5EF4-FFF2-40B4-BE49-F238E27FC236}">
                    <a16:creationId xmlns:a16="http://schemas.microsoft.com/office/drawing/2014/main" id="{60D1C9BF-9DCA-4C6C-9A97-79FA45DA780B}"/>
                  </a:ext>
                </a:extLst>
              </p:cNvPr>
              <p:cNvSpPr/>
              <p:nvPr/>
            </p:nvSpPr>
            <p:spPr>
              <a:xfrm>
                <a:off x="4281343" y="1776845"/>
                <a:ext cx="581314" cy="5813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8" name="Oval 317">
                <a:extLst>
                  <a:ext uri="{FF2B5EF4-FFF2-40B4-BE49-F238E27FC236}">
                    <a16:creationId xmlns:a16="http://schemas.microsoft.com/office/drawing/2014/main" id="{678F16C5-4F98-4B52-983A-E1189809358E}"/>
                  </a:ext>
                </a:extLst>
              </p:cNvPr>
              <p:cNvSpPr/>
              <p:nvPr/>
            </p:nvSpPr>
            <p:spPr>
              <a:xfrm>
                <a:off x="4416136" y="1911638"/>
                <a:ext cx="311727" cy="311727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63" name="Group 362">
            <a:extLst>
              <a:ext uri="{FF2B5EF4-FFF2-40B4-BE49-F238E27FC236}">
                <a16:creationId xmlns:a16="http://schemas.microsoft.com/office/drawing/2014/main" id="{7C63A4EE-FDED-4248-8AE4-45CEC4FA41E9}"/>
              </a:ext>
            </a:extLst>
          </p:cNvPr>
          <p:cNvGrpSpPr/>
          <p:nvPr/>
        </p:nvGrpSpPr>
        <p:grpSpPr>
          <a:xfrm>
            <a:off x="4592684" y="5452997"/>
            <a:ext cx="777889" cy="665456"/>
            <a:chOff x="3976307" y="2940445"/>
            <a:chExt cx="1865693" cy="1596033"/>
          </a:xfrm>
        </p:grpSpPr>
        <p:sp>
          <p:nvSpPr>
            <p:cNvPr id="364" name="Oval 363">
              <a:extLst>
                <a:ext uri="{FF2B5EF4-FFF2-40B4-BE49-F238E27FC236}">
                  <a16:creationId xmlns:a16="http://schemas.microsoft.com/office/drawing/2014/main" id="{B84E5835-30D9-460D-AEF3-EB5E4D39A77E}"/>
                </a:ext>
              </a:extLst>
            </p:cNvPr>
            <p:cNvSpPr/>
            <p:nvPr/>
          </p:nvSpPr>
          <p:spPr>
            <a:xfrm>
              <a:off x="3976853" y="4330103"/>
              <a:ext cx="1644541" cy="206375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5" name="Rectangle 364">
              <a:extLst>
                <a:ext uri="{FF2B5EF4-FFF2-40B4-BE49-F238E27FC236}">
                  <a16:creationId xmlns:a16="http://schemas.microsoft.com/office/drawing/2014/main" id="{5F6E5FA3-2DA3-4DDF-AABD-640543B72EAE}"/>
                </a:ext>
              </a:extLst>
            </p:cNvPr>
            <p:cNvSpPr/>
            <p:nvPr/>
          </p:nvSpPr>
          <p:spPr>
            <a:xfrm>
              <a:off x="5128339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6" name="Rectangle 365">
              <a:extLst>
                <a:ext uri="{FF2B5EF4-FFF2-40B4-BE49-F238E27FC236}">
                  <a16:creationId xmlns:a16="http://schemas.microsoft.com/office/drawing/2014/main" id="{15EA8783-FBC7-43B5-A3C0-4DCBB4B0F89B}"/>
                </a:ext>
              </a:extLst>
            </p:cNvPr>
            <p:cNvSpPr/>
            <p:nvPr/>
          </p:nvSpPr>
          <p:spPr>
            <a:xfrm>
              <a:off x="4341430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7" name="Parallelogram 366">
              <a:extLst>
                <a:ext uri="{FF2B5EF4-FFF2-40B4-BE49-F238E27FC236}">
                  <a16:creationId xmlns:a16="http://schemas.microsoft.com/office/drawing/2014/main" id="{E76E1C3E-BFB9-4D6E-A441-AA119DBBF9F1}"/>
                </a:ext>
              </a:extLst>
            </p:cNvPr>
            <p:cNvSpPr/>
            <p:nvPr/>
          </p:nvSpPr>
          <p:spPr>
            <a:xfrm>
              <a:off x="3976307" y="2940445"/>
              <a:ext cx="1865693" cy="1110457"/>
            </a:xfrm>
            <a:prstGeom prst="parallelogram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8" name="Parallelogram 367">
              <a:extLst>
                <a:ext uri="{FF2B5EF4-FFF2-40B4-BE49-F238E27FC236}">
                  <a16:creationId xmlns:a16="http://schemas.microsoft.com/office/drawing/2014/main" id="{68E00AD8-72EF-47FC-8B7E-C916E0E197B5}"/>
                </a:ext>
              </a:extLst>
            </p:cNvPr>
            <p:cNvSpPr/>
            <p:nvPr/>
          </p:nvSpPr>
          <p:spPr>
            <a:xfrm>
              <a:off x="4210050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9" name="Parallelogram 368">
              <a:extLst>
                <a:ext uri="{FF2B5EF4-FFF2-40B4-BE49-F238E27FC236}">
                  <a16:creationId xmlns:a16="http://schemas.microsoft.com/office/drawing/2014/main" id="{ECD5364F-7C23-4073-962A-24504885D8C3}"/>
                </a:ext>
              </a:extLst>
            </p:cNvPr>
            <p:cNvSpPr/>
            <p:nvPr/>
          </p:nvSpPr>
          <p:spPr>
            <a:xfrm>
              <a:off x="4602766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0" name="Parallelogram 369">
              <a:extLst>
                <a:ext uri="{FF2B5EF4-FFF2-40B4-BE49-F238E27FC236}">
                  <a16:creationId xmlns:a16="http://schemas.microsoft.com/office/drawing/2014/main" id="{B6E611A9-4432-49A2-9C6B-970C65E1E097}"/>
                </a:ext>
              </a:extLst>
            </p:cNvPr>
            <p:cNvSpPr/>
            <p:nvPr/>
          </p:nvSpPr>
          <p:spPr>
            <a:xfrm>
              <a:off x="4995482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1" name="Parallelogram 370">
              <a:extLst>
                <a:ext uri="{FF2B5EF4-FFF2-40B4-BE49-F238E27FC236}">
                  <a16:creationId xmlns:a16="http://schemas.microsoft.com/office/drawing/2014/main" id="{FB3E5F97-738E-4B9D-A0C7-814433B067E5}"/>
                </a:ext>
              </a:extLst>
            </p:cNvPr>
            <p:cNvSpPr/>
            <p:nvPr/>
          </p:nvSpPr>
          <p:spPr>
            <a:xfrm>
              <a:off x="5388198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2" name="Parallelogram 371">
              <a:extLst>
                <a:ext uri="{FF2B5EF4-FFF2-40B4-BE49-F238E27FC236}">
                  <a16:creationId xmlns:a16="http://schemas.microsoft.com/office/drawing/2014/main" id="{59E479CC-57B9-4156-93A5-F928307C43F4}"/>
                </a:ext>
              </a:extLst>
            </p:cNvPr>
            <p:cNvSpPr/>
            <p:nvPr/>
          </p:nvSpPr>
          <p:spPr>
            <a:xfrm>
              <a:off x="4119563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3" name="Parallelogram 372">
              <a:extLst>
                <a:ext uri="{FF2B5EF4-FFF2-40B4-BE49-F238E27FC236}">
                  <a16:creationId xmlns:a16="http://schemas.microsoft.com/office/drawing/2014/main" id="{4BB237E9-C85C-43EC-B519-52B233158839}"/>
                </a:ext>
              </a:extLst>
            </p:cNvPr>
            <p:cNvSpPr/>
            <p:nvPr/>
          </p:nvSpPr>
          <p:spPr>
            <a:xfrm>
              <a:off x="4512279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4" name="Parallelogram 373">
              <a:extLst>
                <a:ext uri="{FF2B5EF4-FFF2-40B4-BE49-F238E27FC236}">
                  <a16:creationId xmlns:a16="http://schemas.microsoft.com/office/drawing/2014/main" id="{E4288BDA-5B0C-40BA-ABFF-068385838501}"/>
                </a:ext>
              </a:extLst>
            </p:cNvPr>
            <p:cNvSpPr/>
            <p:nvPr/>
          </p:nvSpPr>
          <p:spPr>
            <a:xfrm>
              <a:off x="4904995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5" name="Parallelogram 374">
              <a:extLst>
                <a:ext uri="{FF2B5EF4-FFF2-40B4-BE49-F238E27FC236}">
                  <a16:creationId xmlns:a16="http://schemas.microsoft.com/office/drawing/2014/main" id="{33A55FD1-BAD1-438E-B968-829644731740}"/>
                </a:ext>
              </a:extLst>
            </p:cNvPr>
            <p:cNvSpPr/>
            <p:nvPr/>
          </p:nvSpPr>
          <p:spPr>
            <a:xfrm>
              <a:off x="5297711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6" name="Parallelogram 375">
              <a:extLst>
                <a:ext uri="{FF2B5EF4-FFF2-40B4-BE49-F238E27FC236}">
                  <a16:creationId xmlns:a16="http://schemas.microsoft.com/office/drawing/2014/main" id="{612B7DAB-87A1-464E-ACFC-7C35B81AF3A4}"/>
                </a:ext>
              </a:extLst>
            </p:cNvPr>
            <p:cNvSpPr/>
            <p:nvPr/>
          </p:nvSpPr>
          <p:spPr>
            <a:xfrm>
              <a:off x="4033837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7" name="Parallelogram 376">
              <a:extLst>
                <a:ext uri="{FF2B5EF4-FFF2-40B4-BE49-F238E27FC236}">
                  <a16:creationId xmlns:a16="http://schemas.microsoft.com/office/drawing/2014/main" id="{D04C9E15-4A5D-48B4-A870-7906E0B43715}"/>
                </a:ext>
              </a:extLst>
            </p:cNvPr>
            <p:cNvSpPr/>
            <p:nvPr/>
          </p:nvSpPr>
          <p:spPr>
            <a:xfrm>
              <a:off x="4426553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8" name="Parallelogram 377">
              <a:extLst>
                <a:ext uri="{FF2B5EF4-FFF2-40B4-BE49-F238E27FC236}">
                  <a16:creationId xmlns:a16="http://schemas.microsoft.com/office/drawing/2014/main" id="{A220B2AC-E9F6-4FDB-A869-835828533613}"/>
                </a:ext>
              </a:extLst>
            </p:cNvPr>
            <p:cNvSpPr/>
            <p:nvPr/>
          </p:nvSpPr>
          <p:spPr>
            <a:xfrm>
              <a:off x="4819269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9" name="Parallelogram 378">
              <a:extLst>
                <a:ext uri="{FF2B5EF4-FFF2-40B4-BE49-F238E27FC236}">
                  <a16:creationId xmlns:a16="http://schemas.microsoft.com/office/drawing/2014/main" id="{CC4F7666-1390-4D09-B8EA-C405EFA9766C}"/>
                </a:ext>
              </a:extLst>
            </p:cNvPr>
            <p:cNvSpPr/>
            <p:nvPr/>
          </p:nvSpPr>
          <p:spPr>
            <a:xfrm>
              <a:off x="5211985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46" name="Group 345">
            <a:extLst>
              <a:ext uri="{FF2B5EF4-FFF2-40B4-BE49-F238E27FC236}">
                <a16:creationId xmlns:a16="http://schemas.microsoft.com/office/drawing/2014/main" id="{B8A7BB65-FF72-46DE-BB15-E74D105E9A00}"/>
              </a:ext>
            </a:extLst>
          </p:cNvPr>
          <p:cNvGrpSpPr/>
          <p:nvPr/>
        </p:nvGrpSpPr>
        <p:grpSpPr>
          <a:xfrm>
            <a:off x="3741079" y="5452997"/>
            <a:ext cx="777889" cy="665456"/>
            <a:chOff x="3976307" y="2940445"/>
            <a:chExt cx="1865693" cy="1596033"/>
          </a:xfrm>
        </p:grpSpPr>
        <p:sp>
          <p:nvSpPr>
            <p:cNvPr id="347" name="Oval 346">
              <a:extLst>
                <a:ext uri="{FF2B5EF4-FFF2-40B4-BE49-F238E27FC236}">
                  <a16:creationId xmlns:a16="http://schemas.microsoft.com/office/drawing/2014/main" id="{CF7F2B6E-7D08-459E-926B-3F08FA98A728}"/>
                </a:ext>
              </a:extLst>
            </p:cNvPr>
            <p:cNvSpPr/>
            <p:nvPr/>
          </p:nvSpPr>
          <p:spPr>
            <a:xfrm>
              <a:off x="3976853" y="4330103"/>
              <a:ext cx="1644541" cy="206375"/>
            </a:xfrm>
            <a:prstGeom prst="ellipse">
              <a:avLst/>
            </a:prstGeom>
            <a:solidFill>
              <a:schemeClr val="tx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8" name="Rectangle 347">
              <a:extLst>
                <a:ext uri="{FF2B5EF4-FFF2-40B4-BE49-F238E27FC236}">
                  <a16:creationId xmlns:a16="http://schemas.microsoft.com/office/drawing/2014/main" id="{E8B3EAA2-6627-4C6F-87CF-93E815AF881B}"/>
                </a:ext>
              </a:extLst>
            </p:cNvPr>
            <p:cNvSpPr/>
            <p:nvPr/>
          </p:nvSpPr>
          <p:spPr>
            <a:xfrm>
              <a:off x="5128339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9" name="Rectangle 348">
              <a:extLst>
                <a:ext uri="{FF2B5EF4-FFF2-40B4-BE49-F238E27FC236}">
                  <a16:creationId xmlns:a16="http://schemas.microsoft.com/office/drawing/2014/main" id="{2A4A6945-B07D-45D9-9F84-D3218E5B8BCD}"/>
                </a:ext>
              </a:extLst>
            </p:cNvPr>
            <p:cNvSpPr/>
            <p:nvPr/>
          </p:nvSpPr>
          <p:spPr>
            <a:xfrm>
              <a:off x="4341430" y="3852861"/>
              <a:ext cx="85726" cy="598523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0" name="Parallelogram 349">
              <a:extLst>
                <a:ext uri="{FF2B5EF4-FFF2-40B4-BE49-F238E27FC236}">
                  <a16:creationId xmlns:a16="http://schemas.microsoft.com/office/drawing/2014/main" id="{645A8BE6-BC6F-4240-AB9C-FD482B546FC9}"/>
                </a:ext>
              </a:extLst>
            </p:cNvPr>
            <p:cNvSpPr/>
            <p:nvPr/>
          </p:nvSpPr>
          <p:spPr>
            <a:xfrm>
              <a:off x="3976307" y="2940445"/>
              <a:ext cx="1865693" cy="1110457"/>
            </a:xfrm>
            <a:prstGeom prst="parallelogram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1" name="Parallelogram 350">
              <a:extLst>
                <a:ext uri="{FF2B5EF4-FFF2-40B4-BE49-F238E27FC236}">
                  <a16:creationId xmlns:a16="http://schemas.microsoft.com/office/drawing/2014/main" id="{E5E6BAB0-DA22-44F7-BF5D-B12175E6021B}"/>
                </a:ext>
              </a:extLst>
            </p:cNvPr>
            <p:cNvSpPr/>
            <p:nvPr/>
          </p:nvSpPr>
          <p:spPr>
            <a:xfrm>
              <a:off x="4210050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2" name="Parallelogram 351">
              <a:extLst>
                <a:ext uri="{FF2B5EF4-FFF2-40B4-BE49-F238E27FC236}">
                  <a16:creationId xmlns:a16="http://schemas.microsoft.com/office/drawing/2014/main" id="{F1D02787-0D79-44B1-94F3-A7FF11198100}"/>
                </a:ext>
              </a:extLst>
            </p:cNvPr>
            <p:cNvSpPr/>
            <p:nvPr/>
          </p:nvSpPr>
          <p:spPr>
            <a:xfrm>
              <a:off x="4602766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3" name="Parallelogram 352">
              <a:extLst>
                <a:ext uri="{FF2B5EF4-FFF2-40B4-BE49-F238E27FC236}">
                  <a16:creationId xmlns:a16="http://schemas.microsoft.com/office/drawing/2014/main" id="{395B048D-FFFB-45A9-8FF6-ADA1C0F212F1}"/>
                </a:ext>
              </a:extLst>
            </p:cNvPr>
            <p:cNvSpPr/>
            <p:nvPr/>
          </p:nvSpPr>
          <p:spPr>
            <a:xfrm>
              <a:off x="4995482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4" name="Parallelogram 353">
              <a:extLst>
                <a:ext uri="{FF2B5EF4-FFF2-40B4-BE49-F238E27FC236}">
                  <a16:creationId xmlns:a16="http://schemas.microsoft.com/office/drawing/2014/main" id="{10B9A45C-BA27-44DC-891B-D8363EDFA5DA}"/>
                </a:ext>
              </a:extLst>
            </p:cNvPr>
            <p:cNvSpPr/>
            <p:nvPr/>
          </p:nvSpPr>
          <p:spPr>
            <a:xfrm>
              <a:off x="5388198" y="2990850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5" name="Parallelogram 354">
              <a:extLst>
                <a:ext uri="{FF2B5EF4-FFF2-40B4-BE49-F238E27FC236}">
                  <a16:creationId xmlns:a16="http://schemas.microsoft.com/office/drawing/2014/main" id="{0ABE3EC3-C678-4298-9A8E-36E8F5CBA0ED}"/>
                </a:ext>
              </a:extLst>
            </p:cNvPr>
            <p:cNvSpPr/>
            <p:nvPr/>
          </p:nvSpPr>
          <p:spPr>
            <a:xfrm>
              <a:off x="4119563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6" name="Parallelogram 355">
              <a:extLst>
                <a:ext uri="{FF2B5EF4-FFF2-40B4-BE49-F238E27FC236}">
                  <a16:creationId xmlns:a16="http://schemas.microsoft.com/office/drawing/2014/main" id="{A0BE5FF9-70DD-48B2-A8ED-C788D7A59B8E}"/>
                </a:ext>
              </a:extLst>
            </p:cNvPr>
            <p:cNvSpPr/>
            <p:nvPr/>
          </p:nvSpPr>
          <p:spPr>
            <a:xfrm>
              <a:off x="4512279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7" name="Parallelogram 356">
              <a:extLst>
                <a:ext uri="{FF2B5EF4-FFF2-40B4-BE49-F238E27FC236}">
                  <a16:creationId xmlns:a16="http://schemas.microsoft.com/office/drawing/2014/main" id="{A4E49AC7-E3DE-4205-B077-2501730E193F}"/>
                </a:ext>
              </a:extLst>
            </p:cNvPr>
            <p:cNvSpPr/>
            <p:nvPr/>
          </p:nvSpPr>
          <p:spPr>
            <a:xfrm>
              <a:off x="4904995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8" name="Parallelogram 357">
              <a:extLst>
                <a:ext uri="{FF2B5EF4-FFF2-40B4-BE49-F238E27FC236}">
                  <a16:creationId xmlns:a16="http://schemas.microsoft.com/office/drawing/2014/main" id="{843532AA-7BE3-420D-918D-CF0504B22E42}"/>
                </a:ext>
              </a:extLst>
            </p:cNvPr>
            <p:cNvSpPr/>
            <p:nvPr/>
          </p:nvSpPr>
          <p:spPr>
            <a:xfrm>
              <a:off x="5297711" y="3348037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9" name="Parallelogram 358">
              <a:extLst>
                <a:ext uri="{FF2B5EF4-FFF2-40B4-BE49-F238E27FC236}">
                  <a16:creationId xmlns:a16="http://schemas.microsoft.com/office/drawing/2014/main" id="{4A4F4009-B0AD-4E01-901F-4D316B0BDCF8}"/>
                </a:ext>
              </a:extLst>
            </p:cNvPr>
            <p:cNvSpPr/>
            <p:nvPr/>
          </p:nvSpPr>
          <p:spPr>
            <a:xfrm>
              <a:off x="4033837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0" name="Parallelogram 359">
              <a:extLst>
                <a:ext uri="{FF2B5EF4-FFF2-40B4-BE49-F238E27FC236}">
                  <a16:creationId xmlns:a16="http://schemas.microsoft.com/office/drawing/2014/main" id="{5AC6C510-9D9E-4832-94CB-0E152FC8B89D}"/>
                </a:ext>
              </a:extLst>
            </p:cNvPr>
            <p:cNvSpPr/>
            <p:nvPr/>
          </p:nvSpPr>
          <p:spPr>
            <a:xfrm>
              <a:off x="4426553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1" name="Parallelogram 360">
              <a:extLst>
                <a:ext uri="{FF2B5EF4-FFF2-40B4-BE49-F238E27FC236}">
                  <a16:creationId xmlns:a16="http://schemas.microsoft.com/office/drawing/2014/main" id="{AC2D5767-4EF9-4265-BC04-7A829282F23F}"/>
                </a:ext>
              </a:extLst>
            </p:cNvPr>
            <p:cNvSpPr/>
            <p:nvPr/>
          </p:nvSpPr>
          <p:spPr>
            <a:xfrm>
              <a:off x="4819269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2" name="Parallelogram 361">
              <a:extLst>
                <a:ext uri="{FF2B5EF4-FFF2-40B4-BE49-F238E27FC236}">
                  <a16:creationId xmlns:a16="http://schemas.microsoft.com/office/drawing/2014/main" id="{127DB9FE-B92F-4AD7-B2B2-ACA3B27D7D83}"/>
                </a:ext>
              </a:extLst>
            </p:cNvPr>
            <p:cNvSpPr/>
            <p:nvPr/>
          </p:nvSpPr>
          <p:spPr>
            <a:xfrm>
              <a:off x="5211985" y="3705224"/>
              <a:ext cx="392716" cy="295275"/>
            </a:xfrm>
            <a:prstGeom prst="parallelogram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1E150844-907C-4750-8CC6-9FEE6269DFF4}"/>
              </a:ext>
            </a:extLst>
          </p:cNvPr>
          <p:cNvSpPr txBox="1"/>
          <p:nvPr/>
        </p:nvSpPr>
        <p:spPr>
          <a:xfrm>
            <a:off x="1989099" y="1341402"/>
            <a:ext cx="5107310" cy="6463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3600" b="1">
                <a:solidFill>
                  <a:schemeClr val="bg1"/>
                </a:solidFill>
                <a:effectLst/>
                <a:latin typeface="Product Sans" panose="020B0403030502040203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03636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4</TotalTime>
  <Words>100</Words>
  <Application>Microsoft Office PowerPoint</Application>
  <PresentationFormat>On-screen Show (4:3)</PresentationFormat>
  <Paragraphs>13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Product Sans</vt:lpstr>
      <vt:lpstr>Arial</vt:lpstr>
      <vt:lpstr>Open Sans</vt:lpstr>
      <vt:lpstr>Calibri</vt:lpstr>
      <vt:lpstr>Calibri Light</vt:lpstr>
      <vt:lpstr>Office Them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tian Dwi Wijaya</dc:creator>
  <cp:lastModifiedBy>Christian Wijaya</cp:lastModifiedBy>
  <cp:revision>21</cp:revision>
  <dcterms:created xsi:type="dcterms:W3CDTF">2018-11-05T13:24:10Z</dcterms:created>
  <dcterms:modified xsi:type="dcterms:W3CDTF">2022-05-24T15:41:39Z</dcterms:modified>
</cp:coreProperties>
</file>